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0"/>
  </p:notesMasterIdLst>
  <p:sldIdLst>
    <p:sldId id="310" r:id="rId3"/>
    <p:sldId id="288" r:id="rId4"/>
    <p:sldId id="277" r:id="rId5"/>
    <p:sldId id="297" r:id="rId6"/>
    <p:sldId id="295" r:id="rId7"/>
    <p:sldId id="291" r:id="rId8"/>
    <p:sldId id="285" r:id="rId9"/>
    <p:sldId id="292" r:id="rId11"/>
    <p:sldId id="284" r:id="rId12"/>
    <p:sldId id="313" r:id="rId13"/>
    <p:sldId id="315" r:id="rId14"/>
  </p:sldIdLst>
  <p:sldSz cx="12188825" cy="6858000"/>
  <p:notesSz cx="6858000" cy="9144000"/>
  <p:defaultTextStyle>
    <a:defPPr>
      <a:defRPr lang="en-US"/>
    </a:defPPr>
    <a:lvl1pPr marL="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6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200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165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765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365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5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565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165" algn="l" defTabSz="12192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7EFB"/>
    <a:srgbClr val="F5F8FB"/>
    <a:srgbClr val="E8E8E8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6667" autoAdjust="0"/>
    <p:restoredTop sz="99288" autoAdjust="0"/>
  </p:normalViewPr>
  <p:slideViewPr>
    <p:cSldViewPr>
      <p:cViewPr varScale="1">
        <p:scale>
          <a:sx n="78" d="100"/>
          <a:sy n="78" d="100"/>
        </p:scale>
        <p:origin x="802" y="58"/>
      </p:cViewPr>
      <p:guideLst>
        <p:guide orient="horz" pos="1966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7" Type="http://schemas.openxmlformats.org/officeDocument/2006/relationships/tableStyles" Target="tableStyles.xml"/><Relationship Id="rId16" Type="http://schemas.openxmlformats.org/officeDocument/2006/relationships/viewProps" Target="viewProps.xml"/><Relationship Id="rId15" Type="http://schemas.openxmlformats.org/officeDocument/2006/relationships/presProps" Target="presProps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2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16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76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36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56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16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86200"/>
            <a:ext cx="12188825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578D6DB-6798-42D2-B9AD-FC6F1C72FC30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E5EDE275-BE14-4364-AEA2-5F5667C0FD49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  <a:prstGeom prst="rect">
            <a:avLst/>
          </a:prstGeo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600" indent="0">
              <a:buNone/>
              <a:defRPr sz="1600"/>
            </a:lvl2pPr>
            <a:lvl3pPr marL="1219200" indent="0">
              <a:buNone/>
              <a:defRPr sz="1300"/>
            </a:lvl3pPr>
            <a:lvl4pPr marL="1828165" indent="0">
              <a:buNone/>
              <a:defRPr sz="1200"/>
            </a:lvl4pPr>
            <a:lvl5pPr marL="2437765" indent="0">
              <a:buNone/>
              <a:defRPr sz="1200"/>
            </a:lvl5pPr>
            <a:lvl6pPr marL="3047365" indent="0">
              <a:buNone/>
              <a:defRPr sz="1200"/>
            </a:lvl6pPr>
            <a:lvl7pPr marL="3656965" indent="0">
              <a:buNone/>
              <a:defRPr sz="1200"/>
            </a:lvl7pPr>
            <a:lvl8pPr marL="4266565" indent="0">
              <a:buNone/>
              <a:defRPr sz="1200"/>
            </a:lvl8pPr>
            <a:lvl9pPr marL="4876165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300"/>
            </a:lvl1pPr>
            <a:lvl2pPr marL="609600" indent="0">
              <a:buNone/>
              <a:defRPr sz="3700"/>
            </a:lvl2pPr>
            <a:lvl3pPr marL="1219200" indent="0">
              <a:buNone/>
              <a:defRPr sz="3200"/>
            </a:lvl3pPr>
            <a:lvl4pPr marL="1828165" indent="0">
              <a:buNone/>
              <a:defRPr sz="2700"/>
            </a:lvl4pPr>
            <a:lvl5pPr marL="2437765" indent="0">
              <a:buNone/>
              <a:defRPr sz="2700"/>
            </a:lvl5pPr>
            <a:lvl6pPr marL="3047365" indent="0">
              <a:buNone/>
              <a:defRPr sz="2700"/>
            </a:lvl6pPr>
            <a:lvl7pPr marL="3656965" indent="0">
              <a:buNone/>
              <a:defRPr sz="2700"/>
            </a:lvl7pPr>
            <a:lvl8pPr marL="4266565" indent="0">
              <a:buNone/>
              <a:defRPr sz="2700"/>
            </a:lvl8pPr>
            <a:lvl9pPr marL="4876165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600" indent="0">
              <a:buNone/>
              <a:defRPr sz="1600"/>
            </a:lvl2pPr>
            <a:lvl3pPr marL="1219200" indent="0">
              <a:buNone/>
              <a:defRPr sz="1300"/>
            </a:lvl3pPr>
            <a:lvl4pPr marL="1828165" indent="0">
              <a:buNone/>
              <a:defRPr sz="1200"/>
            </a:lvl4pPr>
            <a:lvl5pPr marL="2437765" indent="0">
              <a:buNone/>
              <a:defRPr sz="1200"/>
            </a:lvl5pPr>
            <a:lvl6pPr marL="3047365" indent="0">
              <a:buNone/>
              <a:defRPr sz="1200"/>
            </a:lvl6pPr>
            <a:lvl7pPr marL="3656965" indent="0">
              <a:buNone/>
              <a:defRPr sz="1200"/>
            </a:lvl7pPr>
            <a:lvl8pPr marL="4266565" indent="0">
              <a:buNone/>
              <a:defRPr sz="1200"/>
            </a:lvl8pPr>
            <a:lvl9pPr marL="4876165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39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39"/>
            <a:ext cx="802431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7982" y="6356350"/>
            <a:ext cx="2742486" cy="365125"/>
          </a:xfrm>
          <a:prstGeom prst="rect">
            <a:avLst/>
          </a:prstGeom>
        </p:spPr>
        <p:txBody>
          <a:bodyPr/>
          <a:lstStyle/>
          <a:p>
            <a:fld id="{2B9A32D9-BCEE-48FC-9084-42EEA3BBCC8C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7548" y="6356350"/>
            <a:ext cx="4113728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그림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317653">
            <a:off x="3785731" y="2717800"/>
            <a:ext cx="3612208" cy="265588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51" name="그림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24471" y="5772150"/>
            <a:ext cx="6339882" cy="10858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52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950788" y="3767138"/>
            <a:ext cx="4287250" cy="21971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441" y="6356350"/>
            <a:ext cx="2844059" cy="365125"/>
          </a:xfrm>
        </p:spPr>
        <p:txBody>
          <a:bodyPr/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4515" y="6356350"/>
            <a:ext cx="3859795" cy="365125"/>
          </a:xfrm>
        </p:spPr>
        <p:txBody>
          <a:bodyPr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5325" y="6356350"/>
            <a:ext cx="2844059" cy="365125"/>
          </a:xfrm>
        </p:spPr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27F669F-E298-45BB-931F-29320F8491F5}" type="slidenum">
              <a:rPr kumimoji="1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Gulim" panose="020B0600000101010101" pitchFamily="34" charset="-127"/>
                <a:ea typeface="Gulim" panose="020B0600000101010101" pitchFamily="34" charset="-127"/>
                <a:cs typeface="+mn-cs"/>
              </a:rPr>
            </a:fld>
            <a:endParaRPr kumimoji="1" lang="ko-KR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16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76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36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56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616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700" b="1"/>
            </a:lvl2pPr>
            <a:lvl3pPr marL="1219200" indent="0">
              <a:buNone/>
              <a:defRPr sz="2400" b="1"/>
            </a:lvl3pPr>
            <a:lvl4pPr marL="1828165" indent="0">
              <a:buNone/>
              <a:defRPr sz="2100" b="1"/>
            </a:lvl4pPr>
            <a:lvl5pPr marL="2437765" indent="0">
              <a:buNone/>
              <a:defRPr sz="2100" b="1"/>
            </a:lvl5pPr>
            <a:lvl6pPr marL="3047365" indent="0">
              <a:buNone/>
              <a:defRPr sz="2100" b="1"/>
            </a:lvl6pPr>
            <a:lvl7pPr marL="3656965" indent="0">
              <a:buNone/>
              <a:defRPr sz="2100" b="1"/>
            </a:lvl7pPr>
            <a:lvl8pPr marL="4266565" indent="0">
              <a:buNone/>
              <a:defRPr sz="2100" b="1"/>
            </a:lvl8pPr>
            <a:lvl9pPr marL="487616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Slide Number Placeholder 5"/>
          <p:cNvSpPr txBox="1"/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9200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</a:fld>
            <a:endParaRPr lang="en-US" sz="8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Slide Number Placeholder 5"/>
          <p:cNvSpPr txBox="1"/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9200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6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65" algn="l" defTabSz="12192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</a:fld>
            <a:endParaRPr lang="en-US" sz="80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12192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600" indent="-3810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4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2965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565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165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65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365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965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65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65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65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5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5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65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13.png"/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3" Type="http://schemas.openxmlformats.org/officeDocument/2006/relationships/image" Target="../media/image14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14.emf"/><Relationship Id="rId2" Type="http://schemas.openxmlformats.org/officeDocument/2006/relationships/oleObject" Target="../embeddings/oleObject2.bin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-14513" y="1160"/>
            <a:ext cx="12203338" cy="2470064"/>
          </a:xfrm>
          <a:prstGeom prst="rect">
            <a:avLst/>
          </a:prstGeom>
          <a:solidFill>
            <a:srgbClr val="2B8B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3" name="TextBox 12" descr="#clear#"/>
          <p:cNvSpPr txBox="1"/>
          <p:nvPr/>
        </p:nvSpPr>
        <p:spPr>
          <a:xfrm>
            <a:off x="566420" y="267335"/>
            <a:ext cx="11461750" cy="19380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0" indent="0" algn="ctr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sz="6000" b="1" dirty="0">
                <a:gradFill>
                  <a:gsLst>
                    <a:gs pos="0">
                      <a:srgbClr val="FE4444"/>
                    </a:gs>
                    <a:gs pos="100000">
                      <a:srgbClr val="832B2B"/>
                    </a:gs>
                  </a:gsLst>
                  <a:lin scaled="0"/>
                </a:gradFill>
                <a:latin typeface="Calibri" panose="020F0502020204030204" charset="0"/>
                <a:ea typeface="Microsoft YaHei" panose="020B0503020204020204" charset="-122"/>
                <a:cs typeface="Calibri" panose="020F0502020204030204" charset="0"/>
              </a:rPr>
              <a:t>KHẢO SÁT LƯƠNG CỦA GIÁO VIÊN Ở  </a:t>
            </a:r>
            <a:r>
              <a:rPr lang="en-US" altLang="ko-KR" sz="6000" b="1" dirty="0">
                <a:gradFill>
                  <a:gsLst>
                    <a:gs pos="0">
                      <a:srgbClr val="FE4444"/>
                    </a:gs>
                    <a:gs pos="100000">
                      <a:srgbClr val="832B2B"/>
                    </a:gs>
                  </a:gsLst>
                  <a:lin scaled="0"/>
                </a:gradFill>
                <a:latin typeface="Calibri" panose="020F0502020204030204" charset="0"/>
                <a:ea typeface="Microsoft YaHei" panose="020B0503020204020204" charset="-122"/>
                <a:cs typeface="Calibri" panose="020F0502020204030204" charset="0"/>
                <a:sym typeface="+mn-ea"/>
              </a:rPr>
              <a:t>NEW JERSEY NĂM 2016</a:t>
            </a:r>
            <a:endParaRPr lang="en-US" altLang="ko-KR" sz="6000" b="1" dirty="0">
              <a:gradFill>
                <a:gsLst>
                  <a:gs pos="0">
                    <a:srgbClr val="FE4444"/>
                  </a:gs>
                  <a:gs pos="100000">
                    <a:srgbClr val="832B2B"/>
                  </a:gs>
                </a:gsLst>
                <a:lin scaled="0"/>
              </a:gradFill>
              <a:latin typeface="Calibri" panose="020F0502020204030204" charset="0"/>
              <a:ea typeface="Microsoft YaHei" panose="020B0503020204020204" charset="-122"/>
              <a:cs typeface="Calibri" panose="020F0502020204030204" charset="0"/>
            </a:endParaRPr>
          </a:p>
        </p:txBody>
      </p:sp>
      <p:pic>
        <p:nvPicPr>
          <p:cNvPr id="29700" name="그림 3" descr="s06.pn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74190" y="3317240"/>
            <a:ext cx="1090930" cy="267779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" name="Oval Callout 3"/>
          <p:cNvSpPr/>
          <p:nvPr/>
        </p:nvSpPr>
        <p:spPr>
          <a:xfrm>
            <a:off x="2494280" y="2780665"/>
            <a:ext cx="864235" cy="575945"/>
          </a:xfrm>
          <a:prstGeom prst="wedgeEllipseCallou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5" name="Text Box 4"/>
          <p:cNvSpPr txBox="1"/>
          <p:nvPr/>
        </p:nvSpPr>
        <p:spPr>
          <a:xfrm>
            <a:off x="2547620" y="2856865"/>
            <a:ext cx="75755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/>
              <a:t>Data</a:t>
            </a:r>
            <a:endParaRPr lang="en-US"/>
          </a:p>
        </p:txBody>
      </p:sp>
      <p:pic>
        <p:nvPicPr>
          <p:cNvPr id="29698" name="그림 1" descr="s0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645" y="3356610"/>
            <a:ext cx="1393825" cy="263842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" name="Oval Callout 8"/>
          <p:cNvSpPr/>
          <p:nvPr/>
        </p:nvSpPr>
        <p:spPr>
          <a:xfrm>
            <a:off x="10008235" y="2637155"/>
            <a:ext cx="1055370" cy="586105"/>
          </a:xfrm>
          <a:prstGeom prst="wedgeEllipseCallou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12" name="Text Box 11"/>
          <p:cNvSpPr txBox="1"/>
          <p:nvPr/>
        </p:nvSpPr>
        <p:spPr>
          <a:xfrm>
            <a:off x="9961880" y="2708910"/>
            <a:ext cx="11480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/>
              <a:t>analysis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ldLvl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Rectangle 228"/>
          <p:cNvSpPr/>
          <p:nvPr/>
        </p:nvSpPr>
        <p:spPr>
          <a:xfrm>
            <a:off x="118110" y="0"/>
            <a:ext cx="3082925" cy="6795770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5" name="Group 84"/>
          <p:cNvGrpSpPr/>
          <p:nvPr/>
        </p:nvGrpSpPr>
        <p:grpSpPr>
          <a:xfrm>
            <a:off x="758715" y="399818"/>
            <a:ext cx="1926945" cy="1680797"/>
            <a:chOff x="633294" y="399818"/>
            <a:chExt cx="1926945" cy="1680797"/>
          </a:xfrm>
        </p:grpSpPr>
        <p:sp>
          <p:nvSpPr>
            <p:cNvPr id="289" name="Freeform 29"/>
            <p:cNvSpPr/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69" name="Freeform 23"/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0" name="Freeform 24"/>
            <p:cNvSpPr/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1" name="Freeform 25"/>
            <p:cNvSpPr/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2" name="Freeform 26"/>
            <p:cNvSpPr/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3" name="Freeform 27"/>
            <p:cNvSpPr/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7" name="Oval 31"/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8" name="Freeform 32"/>
            <p:cNvSpPr/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9" name="Freeform 33"/>
            <p:cNvSpPr/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0" name="Freeform 34"/>
            <p:cNvSpPr/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1" name="Freeform 35"/>
            <p:cNvSpPr/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2" name="Freeform 36"/>
            <p:cNvSpPr/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3" name="Freeform 37"/>
            <p:cNvSpPr/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4" name="Freeform 38"/>
            <p:cNvSpPr/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5" name="Freeform 39"/>
            <p:cNvSpPr/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6" name="Freeform 40"/>
            <p:cNvSpPr/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7" name="Freeform 41"/>
            <p:cNvSpPr/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8" name="TextBox 287"/>
            <p:cNvSpPr txBox="1"/>
            <p:nvPr/>
          </p:nvSpPr>
          <p:spPr>
            <a:xfrm>
              <a:off x="1004288" y="1728186"/>
              <a:ext cx="1229407" cy="2768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en-IN" sz="1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Caterogy</a:t>
              </a:r>
              <a:endParaRPr lang="en-US" altLang="en-IN" sz="1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1" name="TextBox 290"/>
            <p:cNvSpPr txBox="1"/>
            <p:nvPr/>
          </p:nvSpPr>
          <p:spPr>
            <a:xfrm>
              <a:off x="2092665" y="1503212"/>
              <a:ext cx="243232" cy="1384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IN" sz="9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93" name="Freeform 29"/>
          <p:cNvSpPr/>
          <p:nvPr/>
        </p:nvSpPr>
        <p:spPr bwMode="auto">
          <a:xfrm>
            <a:off x="899812" y="2689531"/>
            <a:ext cx="1643722" cy="1127741"/>
          </a:xfrm>
          <a:custGeom>
            <a:avLst/>
            <a:gdLst>
              <a:gd name="T0" fmla="*/ 847 w 847"/>
              <a:gd name="T1" fmla="*/ 423 h 582"/>
              <a:gd name="T2" fmla="*/ 816 w 847"/>
              <a:gd name="T3" fmla="*/ 582 h 582"/>
              <a:gd name="T4" fmla="*/ 31 w 847"/>
              <a:gd name="T5" fmla="*/ 582 h 582"/>
              <a:gd name="T6" fmla="*/ 0 w 847"/>
              <a:gd name="T7" fmla="*/ 423 h 582"/>
              <a:gd name="T8" fmla="*/ 423 w 847"/>
              <a:gd name="T9" fmla="*/ 0 h 582"/>
              <a:gd name="T10" fmla="*/ 847 w 847"/>
              <a:gd name="T11" fmla="*/ 423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7" h="582">
                <a:moveTo>
                  <a:pt x="847" y="423"/>
                </a:moveTo>
                <a:cubicBezTo>
                  <a:pt x="847" y="479"/>
                  <a:pt x="836" y="533"/>
                  <a:pt x="816" y="582"/>
                </a:cubicBezTo>
                <a:cubicBezTo>
                  <a:pt x="31" y="582"/>
                  <a:pt x="31" y="582"/>
                  <a:pt x="31" y="582"/>
                </a:cubicBezTo>
                <a:cubicBezTo>
                  <a:pt x="11" y="533"/>
                  <a:pt x="0" y="479"/>
                  <a:pt x="0" y="423"/>
                </a:cubicBezTo>
                <a:cubicBezTo>
                  <a:pt x="0" y="189"/>
                  <a:pt x="190" y="0"/>
                  <a:pt x="423" y="0"/>
                </a:cubicBezTo>
                <a:cubicBezTo>
                  <a:pt x="657" y="0"/>
                  <a:pt x="847" y="189"/>
                  <a:pt x="847" y="4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4" name="Freeform 23"/>
          <p:cNvSpPr>
            <a:spLocks noEditPoints="1"/>
          </p:cNvSpPr>
          <p:nvPr/>
        </p:nvSpPr>
        <p:spPr bwMode="auto">
          <a:xfrm>
            <a:off x="758715" y="2547405"/>
            <a:ext cx="1926945" cy="1680797"/>
          </a:xfrm>
          <a:custGeom>
            <a:avLst/>
            <a:gdLst>
              <a:gd name="T0" fmla="*/ 967 w 993"/>
              <a:gd name="T1" fmla="*/ 656 h 867"/>
              <a:gd name="T2" fmla="*/ 967 w 993"/>
              <a:gd name="T3" fmla="*/ 655 h 867"/>
              <a:gd name="T4" fmla="*/ 967 w 993"/>
              <a:gd name="T5" fmla="*/ 655 h 867"/>
              <a:gd name="T6" fmla="*/ 993 w 993"/>
              <a:gd name="T7" fmla="*/ 496 h 867"/>
              <a:gd name="T8" fmla="*/ 496 w 993"/>
              <a:gd name="T9" fmla="*/ 0 h 867"/>
              <a:gd name="T10" fmla="*/ 0 w 993"/>
              <a:gd name="T11" fmla="*/ 496 h 867"/>
              <a:gd name="T12" fmla="*/ 26 w 993"/>
              <a:gd name="T13" fmla="*/ 655 h 867"/>
              <a:gd name="T14" fmla="*/ 26 w 993"/>
              <a:gd name="T15" fmla="*/ 655 h 867"/>
              <a:gd name="T16" fmla="*/ 26 w 993"/>
              <a:gd name="T17" fmla="*/ 656 h 867"/>
              <a:gd name="T18" fmla="*/ 31 w 993"/>
              <a:gd name="T19" fmla="*/ 669 h 867"/>
              <a:gd name="T20" fmla="*/ 31 w 993"/>
              <a:gd name="T21" fmla="*/ 669 h 867"/>
              <a:gd name="T22" fmla="*/ 36 w 993"/>
              <a:gd name="T23" fmla="*/ 682 h 867"/>
              <a:gd name="T24" fmla="*/ 80 w 993"/>
              <a:gd name="T25" fmla="*/ 767 h 867"/>
              <a:gd name="T26" fmla="*/ 91 w 993"/>
              <a:gd name="T27" fmla="*/ 783 h 867"/>
              <a:gd name="T28" fmla="*/ 108 w 993"/>
              <a:gd name="T29" fmla="*/ 806 h 867"/>
              <a:gd name="T30" fmla="*/ 126 w 993"/>
              <a:gd name="T31" fmla="*/ 828 h 867"/>
              <a:gd name="T32" fmla="*/ 133 w 993"/>
              <a:gd name="T33" fmla="*/ 835 h 867"/>
              <a:gd name="T34" fmla="*/ 133 w 993"/>
              <a:gd name="T35" fmla="*/ 835 h 867"/>
              <a:gd name="T36" fmla="*/ 146 w 993"/>
              <a:gd name="T37" fmla="*/ 848 h 867"/>
              <a:gd name="T38" fmla="*/ 153 w 993"/>
              <a:gd name="T39" fmla="*/ 855 h 867"/>
              <a:gd name="T40" fmla="*/ 158 w 993"/>
              <a:gd name="T41" fmla="*/ 860 h 867"/>
              <a:gd name="T42" fmla="*/ 160 w 993"/>
              <a:gd name="T43" fmla="*/ 861 h 867"/>
              <a:gd name="T44" fmla="*/ 166 w 993"/>
              <a:gd name="T45" fmla="*/ 867 h 867"/>
              <a:gd name="T46" fmla="*/ 827 w 993"/>
              <a:gd name="T47" fmla="*/ 867 h 867"/>
              <a:gd name="T48" fmla="*/ 840 w 993"/>
              <a:gd name="T49" fmla="*/ 855 h 867"/>
              <a:gd name="T50" fmla="*/ 846 w 993"/>
              <a:gd name="T51" fmla="*/ 849 h 867"/>
              <a:gd name="T52" fmla="*/ 860 w 993"/>
              <a:gd name="T53" fmla="*/ 834 h 867"/>
              <a:gd name="T54" fmla="*/ 866 w 993"/>
              <a:gd name="T55" fmla="*/ 828 h 867"/>
              <a:gd name="T56" fmla="*/ 873 w 993"/>
              <a:gd name="T57" fmla="*/ 820 h 867"/>
              <a:gd name="T58" fmla="*/ 878 w 993"/>
              <a:gd name="T59" fmla="*/ 814 h 867"/>
              <a:gd name="T60" fmla="*/ 881 w 993"/>
              <a:gd name="T61" fmla="*/ 811 h 867"/>
              <a:gd name="T62" fmla="*/ 885 w 993"/>
              <a:gd name="T63" fmla="*/ 806 h 867"/>
              <a:gd name="T64" fmla="*/ 897 w 993"/>
              <a:gd name="T65" fmla="*/ 790 h 867"/>
              <a:gd name="T66" fmla="*/ 901 w 993"/>
              <a:gd name="T67" fmla="*/ 784 h 867"/>
              <a:gd name="T68" fmla="*/ 902 w 993"/>
              <a:gd name="T69" fmla="*/ 783 h 867"/>
              <a:gd name="T70" fmla="*/ 907 w 993"/>
              <a:gd name="T71" fmla="*/ 775 h 867"/>
              <a:gd name="T72" fmla="*/ 913 w 993"/>
              <a:gd name="T73" fmla="*/ 767 h 867"/>
              <a:gd name="T74" fmla="*/ 923 w 993"/>
              <a:gd name="T75" fmla="*/ 751 h 867"/>
              <a:gd name="T76" fmla="*/ 928 w 993"/>
              <a:gd name="T77" fmla="*/ 743 h 867"/>
              <a:gd name="T78" fmla="*/ 932 w 993"/>
              <a:gd name="T79" fmla="*/ 735 h 867"/>
              <a:gd name="T80" fmla="*/ 946 w 993"/>
              <a:gd name="T81" fmla="*/ 708 h 867"/>
              <a:gd name="T82" fmla="*/ 949 w 993"/>
              <a:gd name="T83" fmla="*/ 701 h 867"/>
              <a:gd name="T84" fmla="*/ 950 w 993"/>
              <a:gd name="T85" fmla="*/ 700 h 867"/>
              <a:gd name="T86" fmla="*/ 953 w 993"/>
              <a:gd name="T87" fmla="*/ 691 h 867"/>
              <a:gd name="T88" fmla="*/ 957 w 993"/>
              <a:gd name="T89" fmla="*/ 682 h 867"/>
              <a:gd name="T90" fmla="*/ 962 w 993"/>
              <a:gd name="T91" fmla="*/ 669 h 867"/>
              <a:gd name="T92" fmla="*/ 962 w 993"/>
              <a:gd name="T93" fmla="*/ 669 h 867"/>
              <a:gd name="T94" fmla="*/ 967 w 993"/>
              <a:gd name="T95" fmla="*/ 656 h 867"/>
              <a:gd name="T96" fmla="*/ 104 w 993"/>
              <a:gd name="T97" fmla="*/ 655 h 867"/>
              <a:gd name="T98" fmla="*/ 73 w 993"/>
              <a:gd name="T99" fmla="*/ 496 h 867"/>
              <a:gd name="T100" fmla="*/ 496 w 993"/>
              <a:gd name="T101" fmla="*/ 73 h 867"/>
              <a:gd name="T102" fmla="*/ 920 w 993"/>
              <a:gd name="T103" fmla="*/ 496 h 867"/>
              <a:gd name="T104" fmla="*/ 889 w 993"/>
              <a:gd name="T105" fmla="*/ 655 h 867"/>
              <a:gd name="T106" fmla="*/ 104 w 993"/>
              <a:gd name="T107" fmla="*/ 655 h 8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93" h="867">
                <a:moveTo>
                  <a:pt x="967" y="656"/>
                </a:moveTo>
                <a:cubicBezTo>
                  <a:pt x="967" y="656"/>
                  <a:pt x="967" y="655"/>
                  <a:pt x="967" y="655"/>
                </a:cubicBezTo>
                <a:cubicBezTo>
                  <a:pt x="967" y="655"/>
                  <a:pt x="967" y="655"/>
                  <a:pt x="967" y="655"/>
                </a:cubicBezTo>
                <a:cubicBezTo>
                  <a:pt x="984" y="605"/>
                  <a:pt x="993" y="552"/>
                  <a:pt x="993" y="496"/>
                </a:cubicBezTo>
                <a:cubicBezTo>
                  <a:pt x="993" y="222"/>
                  <a:pt x="771" y="0"/>
                  <a:pt x="496" y="0"/>
                </a:cubicBezTo>
                <a:cubicBezTo>
                  <a:pt x="222" y="0"/>
                  <a:pt x="0" y="222"/>
                  <a:pt x="0" y="496"/>
                </a:cubicBezTo>
                <a:cubicBezTo>
                  <a:pt x="0" y="552"/>
                  <a:pt x="9" y="605"/>
                  <a:pt x="26" y="655"/>
                </a:cubicBezTo>
                <a:cubicBezTo>
                  <a:pt x="26" y="655"/>
                  <a:pt x="26" y="655"/>
                  <a:pt x="26" y="655"/>
                </a:cubicBezTo>
                <a:cubicBezTo>
                  <a:pt x="26" y="655"/>
                  <a:pt x="26" y="656"/>
                  <a:pt x="26" y="656"/>
                </a:cubicBezTo>
                <a:cubicBezTo>
                  <a:pt x="27" y="660"/>
                  <a:pt x="29" y="664"/>
                  <a:pt x="31" y="669"/>
                </a:cubicBezTo>
                <a:cubicBezTo>
                  <a:pt x="31" y="669"/>
                  <a:pt x="31" y="669"/>
                  <a:pt x="31" y="669"/>
                </a:cubicBezTo>
                <a:cubicBezTo>
                  <a:pt x="32" y="673"/>
                  <a:pt x="34" y="678"/>
                  <a:pt x="36" y="682"/>
                </a:cubicBezTo>
                <a:cubicBezTo>
                  <a:pt x="48" y="712"/>
                  <a:pt x="63" y="740"/>
                  <a:pt x="80" y="767"/>
                </a:cubicBezTo>
                <a:cubicBezTo>
                  <a:pt x="84" y="772"/>
                  <a:pt x="87" y="778"/>
                  <a:pt x="91" y="783"/>
                </a:cubicBezTo>
                <a:cubicBezTo>
                  <a:pt x="96" y="791"/>
                  <a:pt x="102" y="798"/>
                  <a:pt x="108" y="806"/>
                </a:cubicBezTo>
                <a:cubicBezTo>
                  <a:pt x="114" y="813"/>
                  <a:pt x="120" y="820"/>
                  <a:pt x="126" y="828"/>
                </a:cubicBezTo>
                <a:cubicBezTo>
                  <a:pt x="129" y="830"/>
                  <a:pt x="131" y="832"/>
                  <a:pt x="133" y="835"/>
                </a:cubicBezTo>
                <a:cubicBezTo>
                  <a:pt x="133" y="835"/>
                  <a:pt x="133" y="835"/>
                  <a:pt x="133" y="835"/>
                </a:cubicBezTo>
                <a:cubicBezTo>
                  <a:pt x="137" y="839"/>
                  <a:pt x="142" y="844"/>
                  <a:pt x="146" y="848"/>
                </a:cubicBezTo>
                <a:cubicBezTo>
                  <a:pt x="148" y="850"/>
                  <a:pt x="151" y="853"/>
                  <a:pt x="153" y="855"/>
                </a:cubicBezTo>
                <a:cubicBezTo>
                  <a:pt x="155" y="857"/>
                  <a:pt x="156" y="858"/>
                  <a:pt x="158" y="860"/>
                </a:cubicBezTo>
                <a:cubicBezTo>
                  <a:pt x="159" y="860"/>
                  <a:pt x="159" y="861"/>
                  <a:pt x="160" y="861"/>
                </a:cubicBezTo>
                <a:cubicBezTo>
                  <a:pt x="162" y="863"/>
                  <a:pt x="164" y="865"/>
                  <a:pt x="166" y="867"/>
                </a:cubicBezTo>
                <a:cubicBezTo>
                  <a:pt x="827" y="867"/>
                  <a:pt x="827" y="867"/>
                  <a:pt x="827" y="867"/>
                </a:cubicBezTo>
                <a:cubicBezTo>
                  <a:pt x="831" y="863"/>
                  <a:pt x="836" y="859"/>
                  <a:pt x="840" y="855"/>
                </a:cubicBezTo>
                <a:cubicBezTo>
                  <a:pt x="842" y="853"/>
                  <a:pt x="844" y="851"/>
                  <a:pt x="846" y="849"/>
                </a:cubicBezTo>
                <a:cubicBezTo>
                  <a:pt x="851" y="844"/>
                  <a:pt x="856" y="839"/>
                  <a:pt x="860" y="834"/>
                </a:cubicBezTo>
                <a:cubicBezTo>
                  <a:pt x="862" y="832"/>
                  <a:pt x="864" y="830"/>
                  <a:pt x="866" y="828"/>
                </a:cubicBezTo>
                <a:cubicBezTo>
                  <a:pt x="868" y="825"/>
                  <a:pt x="871" y="823"/>
                  <a:pt x="873" y="820"/>
                </a:cubicBezTo>
                <a:cubicBezTo>
                  <a:pt x="874" y="818"/>
                  <a:pt x="876" y="816"/>
                  <a:pt x="878" y="814"/>
                </a:cubicBezTo>
                <a:cubicBezTo>
                  <a:pt x="879" y="813"/>
                  <a:pt x="880" y="812"/>
                  <a:pt x="881" y="811"/>
                </a:cubicBezTo>
                <a:cubicBezTo>
                  <a:pt x="882" y="809"/>
                  <a:pt x="883" y="807"/>
                  <a:pt x="885" y="806"/>
                </a:cubicBezTo>
                <a:cubicBezTo>
                  <a:pt x="889" y="801"/>
                  <a:pt x="893" y="796"/>
                  <a:pt x="897" y="790"/>
                </a:cubicBezTo>
                <a:cubicBezTo>
                  <a:pt x="898" y="788"/>
                  <a:pt x="900" y="786"/>
                  <a:pt x="901" y="784"/>
                </a:cubicBezTo>
                <a:cubicBezTo>
                  <a:pt x="902" y="783"/>
                  <a:pt x="902" y="783"/>
                  <a:pt x="902" y="783"/>
                </a:cubicBezTo>
                <a:cubicBezTo>
                  <a:pt x="904" y="780"/>
                  <a:pt x="906" y="778"/>
                  <a:pt x="907" y="775"/>
                </a:cubicBezTo>
                <a:cubicBezTo>
                  <a:pt x="909" y="772"/>
                  <a:pt x="911" y="770"/>
                  <a:pt x="913" y="767"/>
                </a:cubicBezTo>
                <a:cubicBezTo>
                  <a:pt x="916" y="762"/>
                  <a:pt x="920" y="756"/>
                  <a:pt x="923" y="751"/>
                </a:cubicBezTo>
                <a:cubicBezTo>
                  <a:pt x="924" y="748"/>
                  <a:pt x="926" y="745"/>
                  <a:pt x="928" y="743"/>
                </a:cubicBezTo>
                <a:cubicBezTo>
                  <a:pt x="929" y="740"/>
                  <a:pt x="931" y="737"/>
                  <a:pt x="932" y="735"/>
                </a:cubicBezTo>
                <a:cubicBezTo>
                  <a:pt x="937" y="726"/>
                  <a:pt x="941" y="717"/>
                  <a:pt x="946" y="708"/>
                </a:cubicBezTo>
                <a:cubicBezTo>
                  <a:pt x="947" y="706"/>
                  <a:pt x="948" y="703"/>
                  <a:pt x="949" y="701"/>
                </a:cubicBezTo>
                <a:cubicBezTo>
                  <a:pt x="949" y="700"/>
                  <a:pt x="949" y="700"/>
                  <a:pt x="950" y="700"/>
                </a:cubicBezTo>
                <a:cubicBezTo>
                  <a:pt x="951" y="697"/>
                  <a:pt x="952" y="694"/>
                  <a:pt x="953" y="691"/>
                </a:cubicBezTo>
                <a:cubicBezTo>
                  <a:pt x="955" y="688"/>
                  <a:pt x="956" y="685"/>
                  <a:pt x="957" y="682"/>
                </a:cubicBezTo>
                <a:cubicBezTo>
                  <a:pt x="959" y="678"/>
                  <a:pt x="961" y="673"/>
                  <a:pt x="962" y="669"/>
                </a:cubicBezTo>
                <a:cubicBezTo>
                  <a:pt x="962" y="669"/>
                  <a:pt x="962" y="669"/>
                  <a:pt x="962" y="669"/>
                </a:cubicBezTo>
                <a:cubicBezTo>
                  <a:pt x="964" y="664"/>
                  <a:pt x="965" y="660"/>
                  <a:pt x="967" y="656"/>
                </a:cubicBezTo>
                <a:close/>
                <a:moveTo>
                  <a:pt x="104" y="655"/>
                </a:moveTo>
                <a:cubicBezTo>
                  <a:pt x="84" y="606"/>
                  <a:pt x="73" y="552"/>
                  <a:pt x="73" y="496"/>
                </a:cubicBezTo>
                <a:cubicBezTo>
                  <a:pt x="73" y="262"/>
                  <a:pt x="263" y="73"/>
                  <a:pt x="496" y="73"/>
                </a:cubicBezTo>
                <a:cubicBezTo>
                  <a:pt x="730" y="73"/>
                  <a:pt x="920" y="262"/>
                  <a:pt x="920" y="496"/>
                </a:cubicBezTo>
                <a:cubicBezTo>
                  <a:pt x="920" y="552"/>
                  <a:pt x="909" y="606"/>
                  <a:pt x="889" y="655"/>
                </a:cubicBezTo>
                <a:lnTo>
                  <a:pt x="104" y="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5" name="Freeform 24"/>
          <p:cNvSpPr/>
          <p:nvPr/>
        </p:nvSpPr>
        <p:spPr bwMode="auto">
          <a:xfrm>
            <a:off x="828748" y="3869797"/>
            <a:ext cx="85482" cy="164784"/>
          </a:xfrm>
          <a:custGeom>
            <a:avLst/>
            <a:gdLst>
              <a:gd name="T0" fmla="*/ 0 w 44"/>
              <a:gd name="T1" fmla="*/ 0 h 85"/>
              <a:gd name="T2" fmla="*/ 44 w 44"/>
              <a:gd name="T3" fmla="*/ 85 h 85"/>
              <a:gd name="T4" fmla="*/ 0 w 44"/>
              <a:gd name="T5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4" h="85">
                <a:moveTo>
                  <a:pt x="0" y="0"/>
                </a:moveTo>
                <a:cubicBezTo>
                  <a:pt x="12" y="30"/>
                  <a:pt x="27" y="58"/>
                  <a:pt x="44" y="85"/>
                </a:cubicBezTo>
                <a:cubicBezTo>
                  <a:pt x="27" y="58"/>
                  <a:pt x="12" y="30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6" name="Freeform 25"/>
          <p:cNvSpPr/>
          <p:nvPr/>
        </p:nvSpPr>
        <p:spPr bwMode="auto">
          <a:xfrm>
            <a:off x="914230" y="4034581"/>
            <a:ext cx="20598" cy="30897"/>
          </a:xfrm>
          <a:custGeom>
            <a:avLst/>
            <a:gdLst>
              <a:gd name="T0" fmla="*/ 0 w 11"/>
              <a:gd name="T1" fmla="*/ 0 h 16"/>
              <a:gd name="T2" fmla="*/ 11 w 11"/>
              <a:gd name="T3" fmla="*/ 16 h 16"/>
              <a:gd name="T4" fmla="*/ 0 w 11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" h="16">
                <a:moveTo>
                  <a:pt x="0" y="0"/>
                </a:moveTo>
                <a:cubicBezTo>
                  <a:pt x="4" y="5"/>
                  <a:pt x="7" y="11"/>
                  <a:pt x="11" y="16"/>
                </a:cubicBezTo>
                <a:cubicBezTo>
                  <a:pt x="7" y="11"/>
                  <a:pt x="4" y="5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7" name="Freeform 26"/>
          <p:cNvSpPr/>
          <p:nvPr/>
        </p:nvSpPr>
        <p:spPr bwMode="auto">
          <a:xfrm>
            <a:off x="934828" y="4065478"/>
            <a:ext cx="32957" cy="44286"/>
          </a:xfrm>
          <a:custGeom>
            <a:avLst/>
            <a:gdLst>
              <a:gd name="T0" fmla="*/ 0 w 17"/>
              <a:gd name="T1" fmla="*/ 0 h 23"/>
              <a:gd name="T2" fmla="*/ 17 w 17"/>
              <a:gd name="T3" fmla="*/ 23 h 23"/>
              <a:gd name="T4" fmla="*/ 0 w 17"/>
              <a:gd name="T5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23">
                <a:moveTo>
                  <a:pt x="0" y="0"/>
                </a:moveTo>
                <a:cubicBezTo>
                  <a:pt x="5" y="8"/>
                  <a:pt x="11" y="15"/>
                  <a:pt x="17" y="23"/>
                </a:cubicBezTo>
                <a:cubicBezTo>
                  <a:pt x="11" y="15"/>
                  <a:pt x="5" y="8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8" name="Freeform 27"/>
          <p:cNvSpPr/>
          <p:nvPr/>
        </p:nvSpPr>
        <p:spPr bwMode="auto">
          <a:xfrm>
            <a:off x="967785" y="4109764"/>
            <a:ext cx="35017" cy="43256"/>
          </a:xfrm>
          <a:custGeom>
            <a:avLst/>
            <a:gdLst>
              <a:gd name="T0" fmla="*/ 0 w 18"/>
              <a:gd name="T1" fmla="*/ 0 h 22"/>
              <a:gd name="T2" fmla="*/ 18 w 18"/>
              <a:gd name="T3" fmla="*/ 22 h 22"/>
              <a:gd name="T4" fmla="*/ 0 w 18"/>
              <a:gd name="T5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" h="22">
                <a:moveTo>
                  <a:pt x="0" y="0"/>
                </a:moveTo>
                <a:cubicBezTo>
                  <a:pt x="6" y="7"/>
                  <a:pt x="12" y="14"/>
                  <a:pt x="18" y="22"/>
                </a:cubicBezTo>
                <a:cubicBezTo>
                  <a:pt x="12" y="14"/>
                  <a:pt x="6" y="7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0" name="Oval 31"/>
          <p:cNvSpPr>
            <a:spLocks noChangeArrowheads="1"/>
          </p:cNvSpPr>
          <p:nvPr/>
        </p:nvSpPr>
        <p:spPr bwMode="auto">
          <a:xfrm>
            <a:off x="1599114" y="3470196"/>
            <a:ext cx="246147" cy="246146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3813" cap="flat">
            <a:solidFill>
              <a:srgbClr val="FFFFFF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1" name="Freeform 32"/>
          <p:cNvSpPr/>
          <p:nvPr/>
        </p:nvSpPr>
        <p:spPr bwMode="auto">
          <a:xfrm>
            <a:off x="1470377" y="2741026"/>
            <a:ext cx="236877" cy="133887"/>
          </a:xfrm>
          <a:custGeom>
            <a:avLst/>
            <a:gdLst>
              <a:gd name="T0" fmla="*/ 18 w 122"/>
              <a:gd name="T1" fmla="*/ 69 h 69"/>
              <a:gd name="T2" fmla="*/ 122 w 122"/>
              <a:gd name="T3" fmla="*/ 50 h 69"/>
              <a:gd name="T4" fmla="*/ 122 w 122"/>
              <a:gd name="T5" fmla="*/ 0 h 69"/>
              <a:gd name="T6" fmla="*/ 0 w 122"/>
              <a:gd name="T7" fmla="*/ 21 h 69"/>
              <a:gd name="T8" fmla="*/ 18 w 122"/>
              <a:gd name="T9" fmla="*/ 6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18" y="69"/>
                </a:moveTo>
                <a:cubicBezTo>
                  <a:pt x="50" y="57"/>
                  <a:pt x="85" y="51"/>
                  <a:pt x="122" y="50"/>
                </a:cubicBezTo>
                <a:cubicBezTo>
                  <a:pt x="122" y="0"/>
                  <a:pt x="122" y="0"/>
                  <a:pt x="122" y="0"/>
                </a:cubicBezTo>
                <a:cubicBezTo>
                  <a:pt x="80" y="1"/>
                  <a:pt x="39" y="8"/>
                  <a:pt x="0" y="21"/>
                </a:cubicBezTo>
                <a:lnTo>
                  <a:pt x="18" y="6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2" name="Freeform 33"/>
          <p:cNvSpPr/>
          <p:nvPr/>
        </p:nvSpPr>
        <p:spPr bwMode="auto">
          <a:xfrm>
            <a:off x="1737121" y="2741026"/>
            <a:ext cx="235848" cy="133887"/>
          </a:xfrm>
          <a:custGeom>
            <a:avLst/>
            <a:gdLst>
              <a:gd name="T0" fmla="*/ 0 w 122"/>
              <a:gd name="T1" fmla="*/ 0 h 69"/>
              <a:gd name="T2" fmla="*/ 0 w 122"/>
              <a:gd name="T3" fmla="*/ 50 h 69"/>
              <a:gd name="T4" fmla="*/ 104 w 122"/>
              <a:gd name="T5" fmla="*/ 69 h 69"/>
              <a:gd name="T6" fmla="*/ 122 w 122"/>
              <a:gd name="T7" fmla="*/ 21 h 69"/>
              <a:gd name="T8" fmla="*/ 0 w 122"/>
              <a:gd name="T9" fmla="*/ 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0" y="0"/>
                </a:moveTo>
                <a:cubicBezTo>
                  <a:pt x="0" y="50"/>
                  <a:pt x="0" y="50"/>
                  <a:pt x="0" y="50"/>
                </a:cubicBezTo>
                <a:cubicBezTo>
                  <a:pt x="36" y="51"/>
                  <a:pt x="71" y="57"/>
                  <a:pt x="104" y="69"/>
                </a:cubicBezTo>
                <a:cubicBezTo>
                  <a:pt x="122" y="21"/>
                  <a:pt x="122" y="21"/>
                  <a:pt x="122" y="21"/>
                </a:cubicBezTo>
                <a:cubicBezTo>
                  <a:pt x="82" y="8"/>
                  <a:pt x="42" y="1"/>
                  <a:pt x="0" y="0"/>
                </a:cubicBez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3" name="Freeform 34"/>
          <p:cNvSpPr/>
          <p:nvPr/>
        </p:nvSpPr>
        <p:spPr bwMode="auto">
          <a:xfrm>
            <a:off x="1967819" y="2791492"/>
            <a:ext cx="239967" cy="195681"/>
          </a:xfrm>
          <a:custGeom>
            <a:avLst/>
            <a:gdLst>
              <a:gd name="T0" fmla="*/ 0 w 124"/>
              <a:gd name="T1" fmla="*/ 48 h 101"/>
              <a:gd name="T2" fmla="*/ 91 w 124"/>
              <a:gd name="T3" fmla="*/ 101 h 101"/>
              <a:gd name="T4" fmla="*/ 124 w 124"/>
              <a:gd name="T5" fmla="*/ 62 h 101"/>
              <a:gd name="T6" fmla="*/ 28 w 124"/>
              <a:gd name="T7" fmla="*/ 5 h 101"/>
              <a:gd name="T8" fmla="*/ 17 w 124"/>
              <a:gd name="T9" fmla="*/ 0 h 101"/>
              <a:gd name="T10" fmla="*/ 0 w 124"/>
              <a:gd name="T11" fmla="*/ 48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0" y="48"/>
                </a:moveTo>
                <a:cubicBezTo>
                  <a:pt x="33" y="61"/>
                  <a:pt x="64" y="79"/>
                  <a:pt x="91" y="101"/>
                </a:cubicBezTo>
                <a:cubicBezTo>
                  <a:pt x="124" y="62"/>
                  <a:pt x="124" y="62"/>
                  <a:pt x="124" y="62"/>
                </a:cubicBezTo>
                <a:cubicBezTo>
                  <a:pt x="95" y="39"/>
                  <a:pt x="63" y="20"/>
                  <a:pt x="28" y="5"/>
                </a:cubicBezTo>
                <a:cubicBezTo>
                  <a:pt x="25" y="3"/>
                  <a:pt x="21" y="2"/>
                  <a:pt x="17" y="0"/>
                </a:cubicBezTo>
                <a:lnTo>
                  <a:pt x="0" y="48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4" name="Freeform 35"/>
          <p:cNvSpPr/>
          <p:nvPr/>
        </p:nvSpPr>
        <p:spPr bwMode="auto">
          <a:xfrm>
            <a:off x="2167619" y="2931558"/>
            <a:ext cx="217309" cy="232757"/>
          </a:xfrm>
          <a:custGeom>
            <a:avLst/>
            <a:gdLst>
              <a:gd name="T0" fmla="*/ 0 w 112"/>
              <a:gd name="T1" fmla="*/ 39 h 120"/>
              <a:gd name="T2" fmla="*/ 68 w 112"/>
              <a:gd name="T3" fmla="*/ 120 h 120"/>
              <a:gd name="T4" fmla="*/ 112 w 112"/>
              <a:gd name="T5" fmla="*/ 94 h 120"/>
              <a:gd name="T6" fmla="*/ 52 w 112"/>
              <a:gd name="T7" fmla="*/ 18 h 120"/>
              <a:gd name="T8" fmla="*/ 32 w 112"/>
              <a:gd name="T9" fmla="*/ 0 h 120"/>
              <a:gd name="T10" fmla="*/ 0 w 112"/>
              <a:gd name="T11" fmla="*/ 39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0" y="39"/>
                </a:moveTo>
                <a:cubicBezTo>
                  <a:pt x="26" y="62"/>
                  <a:pt x="49" y="89"/>
                  <a:pt x="68" y="120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95" y="67"/>
                  <a:pt x="75" y="41"/>
                  <a:pt x="52" y="18"/>
                </a:cubicBezTo>
                <a:cubicBezTo>
                  <a:pt x="46" y="12"/>
                  <a:pt x="39" y="6"/>
                  <a:pt x="32" y="0"/>
                </a:cubicBezTo>
                <a:lnTo>
                  <a:pt x="0" y="3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5" name="Freeform 36"/>
          <p:cNvSpPr/>
          <p:nvPr/>
        </p:nvSpPr>
        <p:spPr bwMode="auto">
          <a:xfrm>
            <a:off x="2389049" y="3392953"/>
            <a:ext cx="106080" cy="239967"/>
          </a:xfrm>
          <a:custGeom>
            <a:avLst/>
            <a:gdLst>
              <a:gd name="T0" fmla="*/ 50 w 55"/>
              <a:gd name="T1" fmla="*/ 124 h 124"/>
              <a:gd name="T2" fmla="*/ 55 w 55"/>
              <a:gd name="T3" fmla="*/ 62 h 124"/>
              <a:gd name="T4" fmla="*/ 50 w 55"/>
              <a:gd name="T5" fmla="*/ 0 h 124"/>
              <a:gd name="T6" fmla="*/ 0 w 55"/>
              <a:gd name="T7" fmla="*/ 9 h 124"/>
              <a:gd name="T8" fmla="*/ 4 w 55"/>
              <a:gd name="T9" fmla="*/ 62 h 124"/>
              <a:gd name="T10" fmla="*/ 0 w 55"/>
              <a:gd name="T11" fmla="*/ 115 h 124"/>
              <a:gd name="T12" fmla="*/ 50 w 55"/>
              <a:gd name="T13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" h="124">
                <a:moveTo>
                  <a:pt x="50" y="124"/>
                </a:moveTo>
                <a:cubicBezTo>
                  <a:pt x="53" y="104"/>
                  <a:pt x="55" y="83"/>
                  <a:pt x="55" y="62"/>
                </a:cubicBezTo>
                <a:cubicBezTo>
                  <a:pt x="55" y="41"/>
                  <a:pt x="53" y="21"/>
                  <a:pt x="50" y="0"/>
                </a:cubicBezTo>
                <a:cubicBezTo>
                  <a:pt x="0" y="9"/>
                  <a:pt x="0" y="9"/>
                  <a:pt x="0" y="9"/>
                </a:cubicBezTo>
                <a:cubicBezTo>
                  <a:pt x="3" y="26"/>
                  <a:pt x="4" y="44"/>
                  <a:pt x="4" y="62"/>
                </a:cubicBezTo>
                <a:cubicBezTo>
                  <a:pt x="4" y="80"/>
                  <a:pt x="3" y="98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6" name="Freeform 37"/>
          <p:cNvSpPr/>
          <p:nvPr/>
        </p:nvSpPr>
        <p:spPr bwMode="auto">
          <a:xfrm>
            <a:off x="2312836" y="3140627"/>
            <a:ext cx="166844" cy="240997"/>
          </a:xfrm>
          <a:custGeom>
            <a:avLst/>
            <a:gdLst>
              <a:gd name="T0" fmla="*/ 0 w 86"/>
              <a:gd name="T1" fmla="*/ 25 h 124"/>
              <a:gd name="T2" fmla="*/ 37 w 86"/>
              <a:gd name="T3" fmla="*/ 124 h 124"/>
              <a:gd name="T4" fmla="*/ 86 w 86"/>
              <a:gd name="T5" fmla="*/ 115 h 124"/>
              <a:gd name="T6" fmla="*/ 62 w 86"/>
              <a:gd name="T7" fmla="*/ 37 h 124"/>
              <a:gd name="T8" fmla="*/ 44 w 86"/>
              <a:gd name="T9" fmla="*/ 0 h 124"/>
              <a:gd name="T10" fmla="*/ 0 w 86"/>
              <a:gd name="T11" fmla="*/ 2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0" y="25"/>
                </a:moveTo>
                <a:cubicBezTo>
                  <a:pt x="17" y="55"/>
                  <a:pt x="30" y="89"/>
                  <a:pt x="37" y="124"/>
                </a:cubicBezTo>
                <a:cubicBezTo>
                  <a:pt x="86" y="115"/>
                  <a:pt x="86" y="115"/>
                  <a:pt x="86" y="115"/>
                </a:cubicBezTo>
                <a:cubicBezTo>
                  <a:pt x="81" y="89"/>
                  <a:pt x="73" y="62"/>
                  <a:pt x="62" y="37"/>
                </a:cubicBezTo>
                <a:cubicBezTo>
                  <a:pt x="57" y="24"/>
                  <a:pt x="51" y="12"/>
                  <a:pt x="44" y="0"/>
                </a:cubicBezTo>
                <a:lnTo>
                  <a:pt x="0" y="25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7" name="Freeform 38"/>
          <p:cNvSpPr/>
          <p:nvPr/>
        </p:nvSpPr>
        <p:spPr bwMode="auto">
          <a:xfrm>
            <a:off x="1235559" y="2791492"/>
            <a:ext cx="240997" cy="195681"/>
          </a:xfrm>
          <a:custGeom>
            <a:avLst/>
            <a:gdLst>
              <a:gd name="T0" fmla="*/ 33 w 124"/>
              <a:gd name="T1" fmla="*/ 101 h 101"/>
              <a:gd name="T2" fmla="*/ 124 w 124"/>
              <a:gd name="T3" fmla="*/ 48 h 101"/>
              <a:gd name="T4" fmla="*/ 107 w 124"/>
              <a:gd name="T5" fmla="*/ 0 h 101"/>
              <a:gd name="T6" fmla="*/ 95 w 124"/>
              <a:gd name="T7" fmla="*/ 5 h 101"/>
              <a:gd name="T8" fmla="*/ 0 w 124"/>
              <a:gd name="T9" fmla="*/ 62 h 101"/>
              <a:gd name="T10" fmla="*/ 33 w 124"/>
              <a:gd name="T11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33" y="101"/>
                </a:moveTo>
                <a:cubicBezTo>
                  <a:pt x="60" y="79"/>
                  <a:pt x="91" y="61"/>
                  <a:pt x="124" y="48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2"/>
                  <a:pt x="99" y="3"/>
                  <a:pt x="95" y="5"/>
                </a:cubicBezTo>
                <a:cubicBezTo>
                  <a:pt x="61" y="20"/>
                  <a:pt x="29" y="39"/>
                  <a:pt x="0" y="62"/>
                </a:cubicBezTo>
                <a:lnTo>
                  <a:pt x="33" y="101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8" name="Freeform 39"/>
          <p:cNvSpPr/>
          <p:nvPr/>
        </p:nvSpPr>
        <p:spPr bwMode="auto">
          <a:xfrm>
            <a:off x="962635" y="3140627"/>
            <a:ext cx="166844" cy="240997"/>
          </a:xfrm>
          <a:custGeom>
            <a:avLst/>
            <a:gdLst>
              <a:gd name="T0" fmla="*/ 50 w 86"/>
              <a:gd name="T1" fmla="*/ 124 h 124"/>
              <a:gd name="T2" fmla="*/ 86 w 86"/>
              <a:gd name="T3" fmla="*/ 25 h 124"/>
              <a:gd name="T4" fmla="*/ 43 w 86"/>
              <a:gd name="T5" fmla="*/ 0 h 124"/>
              <a:gd name="T6" fmla="*/ 24 w 86"/>
              <a:gd name="T7" fmla="*/ 37 h 124"/>
              <a:gd name="T8" fmla="*/ 0 w 86"/>
              <a:gd name="T9" fmla="*/ 115 h 124"/>
              <a:gd name="T10" fmla="*/ 50 w 86"/>
              <a:gd name="T11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50" y="124"/>
                </a:moveTo>
                <a:cubicBezTo>
                  <a:pt x="57" y="89"/>
                  <a:pt x="70" y="55"/>
                  <a:pt x="86" y="25"/>
                </a:cubicBezTo>
                <a:cubicBezTo>
                  <a:pt x="43" y="0"/>
                  <a:pt x="43" y="0"/>
                  <a:pt x="43" y="0"/>
                </a:cubicBezTo>
                <a:cubicBezTo>
                  <a:pt x="36" y="12"/>
                  <a:pt x="30" y="24"/>
                  <a:pt x="24" y="37"/>
                </a:cubicBezTo>
                <a:cubicBezTo>
                  <a:pt x="14" y="62"/>
                  <a:pt x="6" y="89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9" name="Freeform 40"/>
          <p:cNvSpPr/>
          <p:nvPr/>
        </p:nvSpPr>
        <p:spPr bwMode="auto">
          <a:xfrm>
            <a:off x="949247" y="3392953"/>
            <a:ext cx="104020" cy="239967"/>
          </a:xfrm>
          <a:custGeom>
            <a:avLst/>
            <a:gdLst>
              <a:gd name="T0" fmla="*/ 54 w 54"/>
              <a:gd name="T1" fmla="*/ 115 h 124"/>
              <a:gd name="T2" fmla="*/ 50 w 54"/>
              <a:gd name="T3" fmla="*/ 62 h 124"/>
              <a:gd name="T4" fmla="*/ 54 w 54"/>
              <a:gd name="T5" fmla="*/ 9 h 124"/>
              <a:gd name="T6" fmla="*/ 5 w 54"/>
              <a:gd name="T7" fmla="*/ 0 h 124"/>
              <a:gd name="T8" fmla="*/ 0 w 54"/>
              <a:gd name="T9" fmla="*/ 62 h 124"/>
              <a:gd name="T10" fmla="*/ 5 w 54"/>
              <a:gd name="T11" fmla="*/ 124 h 124"/>
              <a:gd name="T12" fmla="*/ 54 w 54"/>
              <a:gd name="T13" fmla="*/ 11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124">
                <a:moveTo>
                  <a:pt x="54" y="115"/>
                </a:moveTo>
                <a:cubicBezTo>
                  <a:pt x="52" y="98"/>
                  <a:pt x="50" y="80"/>
                  <a:pt x="50" y="62"/>
                </a:cubicBezTo>
                <a:cubicBezTo>
                  <a:pt x="50" y="44"/>
                  <a:pt x="52" y="26"/>
                  <a:pt x="54" y="9"/>
                </a:cubicBezTo>
                <a:cubicBezTo>
                  <a:pt x="5" y="0"/>
                  <a:pt x="5" y="0"/>
                  <a:pt x="5" y="0"/>
                </a:cubicBezTo>
                <a:cubicBezTo>
                  <a:pt x="2" y="21"/>
                  <a:pt x="0" y="41"/>
                  <a:pt x="0" y="62"/>
                </a:cubicBezTo>
                <a:cubicBezTo>
                  <a:pt x="0" y="83"/>
                  <a:pt x="2" y="104"/>
                  <a:pt x="5" y="124"/>
                </a:cubicBezTo>
                <a:lnTo>
                  <a:pt x="54" y="115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10" name="Freeform 41"/>
          <p:cNvSpPr/>
          <p:nvPr/>
        </p:nvSpPr>
        <p:spPr bwMode="auto">
          <a:xfrm>
            <a:off x="1059446" y="2931558"/>
            <a:ext cx="217309" cy="232757"/>
          </a:xfrm>
          <a:custGeom>
            <a:avLst/>
            <a:gdLst>
              <a:gd name="T0" fmla="*/ 44 w 112"/>
              <a:gd name="T1" fmla="*/ 120 h 120"/>
              <a:gd name="T2" fmla="*/ 112 w 112"/>
              <a:gd name="T3" fmla="*/ 39 h 120"/>
              <a:gd name="T4" fmla="*/ 80 w 112"/>
              <a:gd name="T5" fmla="*/ 0 h 120"/>
              <a:gd name="T6" fmla="*/ 60 w 112"/>
              <a:gd name="T7" fmla="*/ 18 h 120"/>
              <a:gd name="T8" fmla="*/ 0 w 112"/>
              <a:gd name="T9" fmla="*/ 94 h 120"/>
              <a:gd name="T10" fmla="*/ 44 w 112"/>
              <a:gd name="T11" fmla="*/ 1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44" y="120"/>
                </a:moveTo>
                <a:cubicBezTo>
                  <a:pt x="62" y="89"/>
                  <a:pt x="85" y="62"/>
                  <a:pt x="112" y="39"/>
                </a:cubicBezTo>
                <a:cubicBezTo>
                  <a:pt x="80" y="0"/>
                  <a:pt x="80" y="0"/>
                  <a:pt x="80" y="0"/>
                </a:cubicBezTo>
                <a:cubicBezTo>
                  <a:pt x="73" y="6"/>
                  <a:pt x="66" y="12"/>
                  <a:pt x="60" y="18"/>
                </a:cubicBezTo>
                <a:cubicBezTo>
                  <a:pt x="37" y="41"/>
                  <a:pt x="17" y="67"/>
                  <a:pt x="0" y="94"/>
                </a:cubicBezTo>
                <a:lnTo>
                  <a:pt x="44" y="120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11" name="TextBox 310"/>
          <p:cNvSpPr txBox="1"/>
          <p:nvPr/>
        </p:nvSpPr>
        <p:spPr>
          <a:xfrm>
            <a:off x="1129709" y="3860533"/>
            <a:ext cx="1229407" cy="276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en-IN" sz="1800" b="1" dirty="0">
                <a:solidFill>
                  <a:schemeClr val="bg1"/>
                </a:solidFill>
                <a:cs typeface="Arial" panose="020B0604020202020204" pitchFamily="34" charset="0"/>
              </a:rPr>
              <a:t>Country</a:t>
            </a:r>
            <a:endParaRPr lang="en-US" altLang="en-IN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314" name="Group 313"/>
          <p:cNvGrpSpPr/>
          <p:nvPr/>
        </p:nvGrpSpPr>
        <p:grpSpPr>
          <a:xfrm>
            <a:off x="758715" y="4694992"/>
            <a:ext cx="1926945" cy="1680797"/>
            <a:chOff x="633294" y="399818"/>
            <a:chExt cx="1926945" cy="1680797"/>
          </a:xfrm>
        </p:grpSpPr>
        <p:sp>
          <p:nvSpPr>
            <p:cNvPr id="315" name="Freeform 29"/>
            <p:cNvSpPr/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6" name="Freeform 23"/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7" name="Freeform 24"/>
            <p:cNvSpPr/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8" name="Freeform 25"/>
            <p:cNvSpPr/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9" name="Freeform 26"/>
            <p:cNvSpPr/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0" name="Freeform 27"/>
            <p:cNvSpPr/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2" name="Oval 31"/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3" name="Freeform 32"/>
            <p:cNvSpPr/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4" name="Freeform 33"/>
            <p:cNvSpPr/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5" name="Freeform 34"/>
            <p:cNvSpPr/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6" name="Freeform 35"/>
            <p:cNvSpPr/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7" name="Freeform 36"/>
            <p:cNvSpPr/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8" name="Freeform 37"/>
            <p:cNvSpPr/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9" name="Freeform 38"/>
            <p:cNvSpPr/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30" name="Freeform 39"/>
            <p:cNvSpPr/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31" name="Freeform 40"/>
            <p:cNvSpPr/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32" name="Freeform 41"/>
            <p:cNvSpPr/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34" name="TextBox 333"/>
            <p:cNvSpPr txBox="1"/>
            <p:nvPr/>
          </p:nvSpPr>
          <p:spPr>
            <a:xfrm>
              <a:off x="809407" y="1503212"/>
              <a:ext cx="243232" cy="1384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IN" sz="900" b="1" dirty="0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46" name="Title 7"/>
          <p:cNvSpPr txBox="1"/>
          <p:nvPr/>
        </p:nvSpPr>
        <p:spPr>
          <a:xfrm>
            <a:off x="243840" y="44450"/>
            <a:ext cx="2957195" cy="504190"/>
          </a:xfrm>
          <a:prstGeom prst="rect">
            <a:avLst/>
          </a:prstGeom>
        </p:spPr>
        <p:txBody>
          <a:bodyPr/>
          <a:lstStyle>
            <a:lvl1pPr algn="l" defTabSz="1219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Calibri" panose="020F0502020204030204" charset="0"/>
                <a:cs typeface="Calibri" panose="020F0502020204030204" charset="0"/>
              </a:rPr>
              <a:t>Control / Dashboard</a:t>
            </a:r>
            <a:endParaRPr lang="en-US" dirty="0"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5" name="TextBox 310"/>
          <p:cNvSpPr txBox="1"/>
          <p:nvPr/>
        </p:nvSpPr>
        <p:spPr>
          <a:xfrm>
            <a:off x="1155744" y="6023343"/>
            <a:ext cx="1229407" cy="276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ctr"/>
            <a:r>
              <a:rPr lang="en-US" altLang="en-IN" sz="1800" b="1" dirty="0">
                <a:solidFill>
                  <a:schemeClr val="bg1"/>
                </a:solidFill>
                <a:cs typeface="Arial" panose="020B0604020202020204" pitchFamily="34" charset="0"/>
              </a:rPr>
              <a:t>District</a:t>
            </a:r>
            <a:endParaRPr lang="en-US" altLang="en-IN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6" name="TextBox 310"/>
          <p:cNvSpPr txBox="1"/>
          <p:nvPr/>
        </p:nvSpPr>
        <p:spPr>
          <a:xfrm>
            <a:off x="1108119" y="783958"/>
            <a:ext cx="1229407" cy="8305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en-IN" sz="1800" b="1" dirty="0">
                <a:solidFill>
                  <a:schemeClr val="tx1"/>
                </a:solidFill>
                <a:cs typeface="Arial" panose="020B0604020202020204" pitchFamily="34" charset="0"/>
              </a:rPr>
              <a:t>Hightly qualified</a:t>
            </a:r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TextBox 310"/>
          <p:cNvSpPr txBox="1"/>
          <p:nvPr/>
        </p:nvSpPr>
        <p:spPr>
          <a:xfrm>
            <a:off x="1083354" y="3203308"/>
            <a:ext cx="1229407" cy="553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ctr"/>
            <a:r>
              <a:rPr lang="en-US" altLang="en-IN" sz="1800" b="1" dirty="0">
                <a:solidFill>
                  <a:schemeClr val="tx1"/>
                </a:solidFill>
                <a:cs typeface="Arial" panose="020B0604020202020204" pitchFamily="34" charset="0"/>
              </a:rPr>
              <a:t>Camden</a:t>
            </a:r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TextBox 310"/>
          <p:cNvSpPr txBox="1"/>
          <p:nvPr/>
        </p:nvSpPr>
        <p:spPr>
          <a:xfrm>
            <a:off x="1125899" y="5372468"/>
            <a:ext cx="1229407" cy="553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ctr"/>
            <a:r>
              <a:rPr lang="en-US" altLang="en-IN" sz="1800" b="1" dirty="0">
                <a:solidFill>
                  <a:schemeClr val="tx1"/>
                </a:solidFill>
                <a:cs typeface="Arial" panose="020B0604020202020204" pitchFamily="34" charset="0"/>
              </a:rPr>
              <a:t>Berlin Boro</a:t>
            </a:r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9" name="Content Placeholder 8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3308350" y="130810"/>
            <a:ext cx="8834755" cy="659574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 descr="#clear#"/>
          <p:cNvSpPr txBox="1"/>
          <p:nvPr/>
        </p:nvSpPr>
        <p:spPr>
          <a:xfrm>
            <a:off x="3646254" y="1052881"/>
            <a:ext cx="5492907" cy="668020"/>
          </a:xfrm>
          <a:prstGeom prst="rect">
            <a:avLst/>
          </a:prstGeom>
          <a:noFill/>
        </p:spPr>
        <p:txBody>
          <a:bodyPr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ko-KR" sz="6600" b="0" i="0" u="none" strike="noStrike" kern="1200" cap="none" spc="0" normalizeH="0" baseline="0" noProof="0" dirty="0" smtClean="0">
                <a:ln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-윤고딕150" pitchFamily="18" charset="-127"/>
                <a:cs typeface="Arial" panose="020B0604020202020204" pitchFamily="34" charset="0"/>
              </a:rPr>
              <a:t>Thank you</a:t>
            </a:r>
            <a:endParaRPr kumimoji="0" lang="en-US" altLang="ko-KR" sz="6600" b="0" i="0" u="none" strike="noStrike" kern="1200" cap="none" spc="0" normalizeH="0" baseline="0" noProof="0" dirty="0" smtClean="0">
              <a:ln>
                <a:prstDash val="solid"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-윤고딕150" pitchFamily="18" charset="-127"/>
              <a:cs typeface="Arial" panose="020B0604020202020204" pitchFamily="34" charset="0"/>
            </a:endParaRPr>
          </a:p>
        </p:txBody>
      </p:sp>
      <p:sp>
        <p:nvSpPr>
          <p:cNvPr id="2" name="Text Box 1"/>
          <p:cNvSpPr txBox="1"/>
          <p:nvPr/>
        </p:nvSpPr>
        <p:spPr>
          <a:xfrm>
            <a:off x="4222750" y="1917065"/>
            <a:ext cx="386905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en-US" b="1" i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 A V E  A  N I C E  D A Y</a:t>
            </a:r>
            <a:endParaRPr lang="en-US" b="1" i="1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Freeform 5"/>
          <p:cNvSpPr/>
          <p:nvPr/>
        </p:nvSpPr>
        <p:spPr bwMode="auto">
          <a:xfrm flipH="1">
            <a:off x="7866380" y="1186815"/>
            <a:ext cx="3691255" cy="976630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en-US" sz="1800" b="1" dirty="0">
                <a:sym typeface="+mn-ea"/>
              </a:rPr>
              <a:t>Trình độ ảnh hưởng như thế </a:t>
            </a:r>
            <a:endParaRPr lang="en-US" sz="1800" b="1" dirty="0">
              <a:sym typeface="+mn-ea"/>
            </a:endParaRPr>
          </a:p>
          <a:p>
            <a:r>
              <a:rPr lang="en-US" sz="1800" b="1" dirty="0">
                <a:sym typeface="+mn-ea"/>
              </a:rPr>
              <a:t>nào đến phân bố lương?</a:t>
            </a:r>
            <a:endParaRPr lang="en-US" sz="1800" b="1" dirty="0"/>
          </a:p>
        </p:txBody>
      </p:sp>
      <p:sp>
        <p:nvSpPr>
          <p:cNvPr id="247" name="Freeform 6"/>
          <p:cNvSpPr/>
          <p:nvPr/>
        </p:nvSpPr>
        <p:spPr bwMode="auto">
          <a:xfrm flipH="1">
            <a:off x="7866380" y="2163445"/>
            <a:ext cx="331470" cy="514350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54" name="Freeform 5"/>
          <p:cNvSpPr/>
          <p:nvPr/>
        </p:nvSpPr>
        <p:spPr bwMode="auto">
          <a:xfrm flipH="1">
            <a:off x="7866380" y="4681855"/>
            <a:ext cx="3742690" cy="970915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en-US" sz="1800" b="1" dirty="0"/>
              <a:t>Năm kinh nghiệm trung bình </a:t>
            </a:r>
            <a:endParaRPr lang="en-US" sz="1800" b="1" dirty="0"/>
          </a:p>
          <a:p>
            <a:r>
              <a:rPr lang="en-US" sz="1800" b="1" dirty="0"/>
              <a:t>của các công việc là bao nhiêu ? </a:t>
            </a:r>
            <a:endParaRPr lang="en-US" sz="1800" b="1" dirty="0"/>
          </a:p>
        </p:txBody>
      </p:sp>
      <p:sp>
        <p:nvSpPr>
          <p:cNvPr id="262" name="Freeform 5"/>
          <p:cNvSpPr/>
          <p:nvPr/>
        </p:nvSpPr>
        <p:spPr bwMode="auto">
          <a:xfrm>
            <a:off x="946785" y="1218565"/>
            <a:ext cx="3382010" cy="952500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en-US" sz="1800" b="1" dirty="0"/>
              <a:t> Thể loại giáo viên/ nhân viên ảnh hưởng thế nào đến phân bố lương?</a:t>
            </a:r>
            <a:endParaRPr lang="en-US" sz="1800" b="1" dirty="0"/>
          </a:p>
        </p:txBody>
      </p:sp>
      <p:sp>
        <p:nvSpPr>
          <p:cNvPr id="263" name="Freeform 6"/>
          <p:cNvSpPr/>
          <p:nvPr/>
        </p:nvSpPr>
        <p:spPr bwMode="auto">
          <a:xfrm>
            <a:off x="4005580" y="2171065"/>
            <a:ext cx="323215" cy="551180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67" name="Freeform 5"/>
          <p:cNvSpPr/>
          <p:nvPr/>
        </p:nvSpPr>
        <p:spPr bwMode="auto">
          <a:xfrm>
            <a:off x="1084580" y="4714875"/>
            <a:ext cx="3244215" cy="946150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en-US" sz="1800" b="1" dirty="0">
                <a:sym typeface="+mn-ea"/>
              </a:rPr>
              <a:t>Những ảnh hưởng của công việc, chứng chỉ đến phân bố lương?</a:t>
            </a:r>
            <a:endParaRPr lang="en-US" sz="18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938" y="260142"/>
            <a:ext cx="11664949" cy="576362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>
                <a:latin typeface="+mn-lt"/>
                <a:cs typeface="+mn-lt"/>
              </a:rPr>
              <a:t>CÁC VẤN ĐỀ &amp; CÂU HỎI VỀ DỮ LIỆU KHẢO SÁT </a:t>
            </a:r>
            <a:endParaRPr lang="en-US" dirty="0">
              <a:latin typeface="+mn-lt"/>
              <a:cs typeface="+mn-lt"/>
            </a:endParaRPr>
          </a:p>
        </p:txBody>
      </p:sp>
      <p:grpSp>
        <p:nvGrpSpPr>
          <p:cNvPr id="1051" name="Group 1050"/>
          <p:cNvGrpSpPr/>
          <p:nvPr/>
        </p:nvGrpSpPr>
        <p:grpSpPr>
          <a:xfrm>
            <a:off x="4523997" y="1600201"/>
            <a:ext cx="3140832" cy="3657600"/>
            <a:chOff x="4854575" y="1985169"/>
            <a:chExt cx="2479675" cy="2887663"/>
          </a:xfrm>
        </p:grpSpPr>
        <p:grpSp>
          <p:nvGrpSpPr>
            <p:cNvPr id="1046" name="Group 1045"/>
            <p:cNvGrpSpPr/>
            <p:nvPr/>
          </p:nvGrpSpPr>
          <p:grpSpPr>
            <a:xfrm>
              <a:off x="4854575" y="1985169"/>
              <a:ext cx="2479675" cy="2887663"/>
              <a:chOff x="-2508251" y="1377950"/>
              <a:chExt cx="2479675" cy="2887663"/>
            </a:xfrm>
          </p:grpSpPr>
          <p:sp>
            <p:nvSpPr>
              <p:cNvPr id="1038" name="Freeform 805"/>
              <p:cNvSpPr/>
              <p:nvPr/>
            </p:nvSpPr>
            <p:spPr bwMode="auto">
              <a:xfrm>
                <a:off x="-2503489" y="1377950"/>
                <a:ext cx="2474913" cy="2868613"/>
              </a:xfrm>
              <a:custGeom>
                <a:avLst/>
                <a:gdLst>
                  <a:gd name="T0" fmla="*/ 768 w 827"/>
                  <a:gd name="T1" fmla="*/ 203 h 961"/>
                  <a:gd name="T2" fmla="*/ 604 w 827"/>
                  <a:gd name="T3" fmla="*/ 36 h 961"/>
                  <a:gd name="T4" fmla="*/ 348 w 827"/>
                  <a:gd name="T5" fmla="*/ 32 h 961"/>
                  <a:gd name="T6" fmla="*/ 104 w 827"/>
                  <a:gd name="T7" fmla="*/ 240 h 961"/>
                  <a:gd name="T8" fmla="*/ 98 w 827"/>
                  <a:gd name="T9" fmla="*/ 259 h 961"/>
                  <a:gd name="T10" fmla="*/ 85 w 827"/>
                  <a:gd name="T11" fmla="*/ 380 h 961"/>
                  <a:gd name="T12" fmla="*/ 91 w 827"/>
                  <a:gd name="T13" fmla="*/ 430 h 961"/>
                  <a:gd name="T14" fmla="*/ 28 w 827"/>
                  <a:gd name="T15" fmla="*/ 536 h 961"/>
                  <a:gd name="T16" fmla="*/ 17 w 827"/>
                  <a:gd name="T17" fmla="*/ 586 h 961"/>
                  <a:gd name="T18" fmla="*/ 49 w 827"/>
                  <a:gd name="T19" fmla="*/ 602 h 961"/>
                  <a:gd name="T20" fmla="*/ 59 w 827"/>
                  <a:gd name="T21" fmla="*/ 638 h 961"/>
                  <a:gd name="T22" fmla="*/ 83 w 827"/>
                  <a:gd name="T23" fmla="*/ 681 h 961"/>
                  <a:gd name="T24" fmla="*/ 81 w 827"/>
                  <a:gd name="T25" fmla="*/ 724 h 961"/>
                  <a:gd name="T26" fmla="*/ 108 w 827"/>
                  <a:gd name="T27" fmla="*/ 777 h 961"/>
                  <a:gd name="T28" fmla="*/ 110 w 827"/>
                  <a:gd name="T29" fmla="*/ 787 h 961"/>
                  <a:gd name="T30" fmla="*/ 189 w 827"/>
                  <a:gd name="T31" fmla="*/ 820 h 961"/>
                  <a:gd name="T32" fmla="*/ 247 w 827"/>
                  <a:gd name="T33" fmla="*/ 811 h 961"/>
                  <a:gd name="T34" fmla="*/ 279 w 827"/>
                  <a:gd name="T35" fmla="*/ 791 h 961"/>
                  <a:gd name="T36" fmla="*/ 239 w 827"/>
                  <a:gd name="T37" fmla="*/ 632 h 961"/>
                  <a:gd name="T38" fmla="*/ 208 w 827"/>
                  <a:gd name="T39" fmla="*/ 581 h 961"/>
                  <a:gd name="T40" fmla="*/ 201 w 827"/>
                  <a:gd name="T41" fmla="*/ 564 h 961"/>
                  <a:gd name="T42" fmla="*/ 212 w 827"/>
                  <a:gd name="T43" fmla="*/ 426 h 961"/>
                  <a:gd name="T44" fmla="*/ 300 w 827"/>
                  <a:gd name="T45" fmla="*/ 336 h 961"/>
                  <a:gd name="T46" fmla="*/ 438 w 827"/>
                  <a:gd name="T47" fmla="*/ 334 h 961"/>
                  <a:gd name="T48" fmla="*/ 569 w 827"/>
                  <a:gd name="T49" fmla="*/ 446 h 961"/>
                  <a:gd name="T50" fmla="*/ 573 w 827"/>
                  <a:gd name="T51" fmla="*/ 456 h 961"/>
                  <a:gd name="T52" fmla="*/ 580 w 827"/>
                  <a:gd name="T53" fmla="*/ 521 h 961"/>
                  <a:gd name="T54" fmla="*/ 577 w 827"/>
                  <a:gd name="T55" fmla="*/ 548 h 961"/>
                  <a:gd name="T56" fmla="*/ 610 w 827"/>
                  <a:gd name="T57" fmla="*/ 605 h 961"/>
                  <a:gd name="T58" fmla="*/ 617 w 827"/>
                  <a:gd name="T59" fmla="*/ 632 h 961"/>
                  <a:gd name="T60" fmla="*/ 599 w 827"/>
                  <a:gd name="T61" fmla="*/ 641 h 961"/>
                  <a:gd name="T62" fmla="*/ 594 w 827"/>
                  <a:gd name="T63" fmla="*/ 660 h 961"/>
                  <a:gd name="T64" fmla="*/ 581 w 827"/>
                  <a:gd name="T65" fmla="*/ 683 h 961"/>
                  <a:gd name="T66" fmla="*/ 582 w 827"/>
                  <a:gd name="T67" fmla="*/ 706 h 961"/>
                  <a:gd name="T68" fmla="*/ 567 w 827"/>
                  <a:gd name="T69" fmla="*/ 735 h 961"/>
                  <a:gd name="T70" fmla="*/ 566 w 827"/>
                  <a:gd name="T71" fmla="*/ 740 h 961"/>
                  <a:gd name="T72" fmla="*/ 524 w 827"/>
                  <a:gd name="T73" fmla="*/ 758 h 961"/>
                  <a:gd name="T74" fmla="*/ 462 w 827"/>
                  <a:gd name="T75" fmla="*/ 759 h 961"/>
                  <a:gd name="T76" fmla="*/ 446 w 827"/>
                  <a:gd name="T77" fmla="*/ 848 h 961"/>
                  <a:gd name="T78" fmla="*/ 669 w 827"/>
                  <a:gd name="T79" fmla="*/ 961 h 961"/>
                  <a:gd name="T80" fmla="*/ 718 w 827"/>
                  <a:gd name="T81" fmla="*/ 586 h 961"/>
                  <a:gd name="T82" fmla="*/ 775 w 827"/>
                  <a:gd name="T83" fmla="*/ 490 h 961"/>
                  <a:gd name="T84" fmla="*/ 788 w 827"/>
                  <a:gd name="T85" fmla="*/ 460 h 961"/>
                  <a:gd name="T86" fmla="*/ 768 w 827"/>
                  <a:gd name="T87" fmla="*/ 203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27" h="961">
                    <a:moveTo>
                      <a:pt x="768" y="203"/>
                    </a:moveTo>
                    <a:cubicBezTo>
                      <a:pt x="718" y="73"/>
                      <a:pt x="604" y="36"/>
                      <a:pt x="604" y="36"/>
                    </a:cubicBezTo>
                    <a:cubicBezTo>
                      <a:pt x="511" y="0"/>
                      <a:pt x="348" y="32"/>
                      <a:pt x="348" y="32"/>
                    </a:cubicBezTo>
                    <a:cubicBezTo>
                      <a:pt x="198" y="61"/>
                      <a:pt x="131" y="163"/>
                      <a:pt x="104" y="240"/>
                    </a:cubicBezTo>
                    <a:cubicBezTo>
                      <a:pt x="102" y="247"/>
                      <a:pt x="100" y="253"/>
                      <a:pt x="98" y="259"/>
                    </a:cubicBezTo>
                    <a:cubicBezTo>
                      <a:pt x="76" y="337"/>
                      <a:pt x="85" y="380"/>
                      <a:pt x="85" y="380"/>
                    </a:cubicBezTo>
                    <a:cubicBezTo>
                      <a:pt x="87" y="393"/>
                      <a:pt x="97" y="415"/>
                      <a:pt x="91" y="430"/>
                    </a:cubicBezTo>
                    <a:cubicBezTo>
                      <a:pt x="79" y="463"/>
                      <a:pt x="48" y="512"/>
                      <a:pt x="28" y="536"/>
                    </a:cubicBezTo>
                    <a:cubicBezTo>
                      <a:pt x="0" y="570"/>
                      <a:pt x="17" y="586"/>
                      <a:pt x="17" y="586"/>
                    </a:cubicBezTo>
                    <a:cubicBezTo>
                      <a:pt x="33" y="599"/>
                      <a:pt x="49" y="602"/>
                      <a:pt x="49" y="602"/>
                    </a:cubicBezTo>
                    <a:cubicBezTo>
                      <a:pt x="77" y="610"/>
                      <a:pt x="59" y="638"/>
                      <a:pt x="59" y="638"/>
                    </a:cubicBezTo>
                    <a:cubicBezTo>
                      <a:pt x="36" y="670"/>
                      <a:pt x="83" y="681"/>
                      <a:pt x="83" y="681"/>
                    </a:cubicBezTo>
                    <a:cubicBezTo>
                      <a:pt x="52" y="703"/>
                      <a:pt x="81" y="724"/>
                      <a:pt x="81" y="724"/>
                    </a:cubicBezTo>
                    <a:cubicBezTo>
                      <a:pt x="98" y="732"/>
                      <a:pt x="108" y="762"/>
                      <a:pt x="108" y="777"/>
                    </a:cubicBezTo>
                    <a:cubicBezTo>
                      <a:pt x="108" y="784"/>
                      <a:pt x="109" y="781"/>
                      <a:pt x="110" y="787"/>
                    </a:cubicBezTo>
                    <a:cubicBezTo>
                      <a:pt x="125" y="849"/>
                      <a:pt x="189" y="820"/>
                      <a:pt x="189" y="820"/>
                    </a:cubicBezTo>
                    <a:cubicBezTo>
                      <a:pt x="210" y="813"/>
                      <a:pt x="230" y="811"/>
                      <a:pt x="247" y="811"/>
                    </a:cubicBezTo>
                    <a:cubicBezTo>
                      <a:pt x="261" y="811"/>
                      <a:pt x="274" y="804"/>
                      <a:pt x="279" y="791"/>
                    </a:cubicBezTo>
                    <a:cubicBezTo>
                      <a:pt x="308" y="720"/>
                      <a:pt x="239" y="632"/>
                      <a:pt x="239" y="632"/>
                    </a:cubicBezTo>
                    <a:cubicBezTo>
                      <a:pt x="226" y="616"/>
                      <a:pt x="215" y="595"/>
                      <a:pt x="208" y="581"/>
                    </a:cubicBezTo>
                    <a:cubicBezTo>
                      <a:pt x="204" y="571"/>
                      <a:pt x="201" y="564"/>
                      <a:pt x="201" y="564"/>
                    </a:cubicBezTo>
                    <a:cubicBezTo>
                      <a:pt x="180" y="494"/>
                      <a:pt x="212" y="426"/>
                      <a:pt x="212" y="426"/>
                    </a:cubicBezTo>
                    <a:cubicBezTo>
                      <a:pt x="239" y="356"/>
                      <a:pt x="300" y="336"/>
                      <a:pt x="300" y="336"/>
                    </a:cubicBezTo>
                    <a:cubicBezTo>
                      <a:pt x="350" y="316"/>
                      <a:pt x="438" y="334"/>
                      <a:pt x="438" y="334"/>
                    </a:cubicBezTo>
                    <a:cubicBezTo>
                      <a:pt x="519" y="350"/>
                      <a:pt x="555" y="405"/>
                      <a:pt x="569" y="446"/>
                    </a:cubicBezTo>
                    <a:cubicBezTo>
                      <a:pt x="571" y="449"/>
                      <a:pt x="572" y="453"/>
                      <a:pt x="573" y="456"/>
                    </a:cubicBezTo>
                    <a:cubicBezTo>
                      <a:pt x="585" y="498"/>
                      <a:pt x="580" y="521"/>
                      <a:pt x="580" y="521"/>
                    </a:cubicBezTo>
                    <a:cubicBezTo>
                      <a:pt x="579" y="528"/>
                      <a:pt x="573" y="540"/>
                      <a:pt x="577" y="548"/>
                    </a:cubicBezTo>
                    <a:cubicBezTo>
                      <a:pt x="583" y="566"/>
                      <a:pt x="599" y="592"/>
                      <a:pt x="610" y="605"/>
                    </a:cubicBezTo>
                    <a:cubicBezTo>
                      <a:pt x="626" y="623"/>
                      <a:pt x="617" y="632"/>
                      <a:pt x="617" y="632"/>
                    </a:cubicBezTo>
                    <a:cubicBezTo>
                      <a:pt x="608" y="639"/>
                      <a:pt x="599" y="641"/>
                      <a:pt x="599" y="641"/>
                    </a:cubicBezTo>
                    <a:cubicBezTo>
                      <a:pt x="584" y="645"/>
                      <a:pt x="594" y="660"/>
                      <a:pt x="594" y="660"/>
                    </a:cubicBezTo>
                    <a:cubicBezTo>
                      <a:pt x="606" y="677"/>
                      <a:pt x="581" y="683"/>
                      <a:pt x="581" y="683"/>
                    </a:cubicBezTo>
                    <a:cubicBezTo>
                      <a:pt x="598" y="695"/>
                      <a:pt x="582" y="706"/>
                      <a:pt x="582" y="706"/>
                    </a:cubicBezTo>
                    <a:cubicBezTo>
                      <a:pt x="573" y="711"/>
                      <a:pt x="567" y="727"/>
                      <a:pt x="567" y="735"/>
                    </a:cubicBezTo>
                    <a:cubicBezTo>
                      <a:pt x="567" y="739"/>
                      <a:pt x="567" y="737"/>
                      <a:pt x="566" y="740"/>
                    </a:cubicBezTo>
                    <a:cubicBezTo>
                      <a:pt x="558" y="774"/>
                      <a:pt x="524" y="758"/>
                      <a:pt x="524" y="758"/>
                    </a:cubicBezTo>
                    <a:cubicBezTo>
                      <a:pt x="497" y="750"/>
                      <a:pt x="476" y="754"/>
                      <a:pt x="462" y="759"/>
                    </a:cubicBezTo>
                    <a:cubicBezTo>
                      <a:pt x="424" y="774"/>
                      <a:pt x="446" y="848"/>
                      <a:pt x="446" y="848"/>
                    </a:cubicBezTo>
                    <a:cubicBezTo>
                      <a:pt x="462" y="891"/>
                      <a:pt x="669" y="961"/>
                      <a:pt x="669" y="961"/>
                    </a:cubicBezTo>
                    <a:cubicBezTo>
                      <a:pt x="527" y="819"/>
                      <a:pt x="718" y="586"/>
                      <a:pt x="718" y="586"/>
                    </a:cubicBezTo>
                    <a:cubicBezTo>
                      <a:pt x="742" y="555"/>
                      <a:pt x="762" y="517"/>
                      <a:pt x="775" y="490"/>
                    </a:cubicBezTo>
                    <a:cubicBezTo>
                      <a:pt x="783" y="472"/>
                      <a:pt x="788" y="460"/>
                      <a:pt x="788" y="460"/>
                    </a:cubicBezTo>
                    <a:cubicBezTo>
                      <a:pt x="827" y="329"/>
                      <a:pt x="768" y="203"/>
                      <a:pt x="768" y="20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39" name="Freeform 806"/>
              <p:cNvSpPr/>
              <p:nvPr/>
            </p:nvSpPr>
            <p:spPr bwMode="auto">
              <a:xfrm>
                <a:off x="-2482052" y="1444626"/>
                <a:ext cx="2200392" cy="2801937"/>
              </a:xfrm>
              <a:custGeom>
                <a:avLst/>
                <a:gdLst>
                  <a:gd name="T0" fmla="*/ 576 w 737"/>
                  <a:gd name="T1" fmla="*/ 666 h 941"/>
                  <a:gd name="T2" fmla="*/ 582 w 737"/>
                  <a:gd name="T3" fmla="*/ 662 h 941"/>
                  <a:gd name="T4" fmla="*/ 587 w 737"/>
                  <a:gd name="T5" fmla="*/ 644 h 941"/>
                  <a:gd name="T6" fmla="*/ 596 w 737"/>
                  <a:gd name="T7" fmla="*/ 622 h 941"/>
                  <a:gd name="T8" fmla="*/ 606 w 737"/>
                  <a:gd name="T9" fmla="*/ 591 h 941"/>
                  <a:gd name="T10" fmla="*/ 580 w 737"/>
                  <a:gd name="T11" fmla="*/ 553 h 941"/>
                  <a:gd name="T12" fmla="*/ 572 w 737"/>
                  <a:gd name="T13" fmla="*/ 506 h 941"/>
                  <a:gd name="T14" fmla="*/ 568 w 737"/>
                  <a:gd name="T15" fmla="*/ 446 h 941"/>
                  <a:gd name="T16" fmla="*/ 429 w 737"/>
                  <a:gd name="T17" fmla="*/ 316 h 941"/>
                  <a:gd name="T18" fmla="*/ 326 w 737"/>
                  <a:gd name="T19" fmla="*/ 311 h 941"/>
                  <a:gd name="T20" fmla="*/ 208 w 737"/>
                  <a:gd name="T21" fmla="*/ 400 h 941"/>
                  <a:gd name="T22" fmla="*/ 188 w 737"/>
                  <a:gd name="T23" fmla="*/ 516 h 941"/>
                  <a:gd name="T24" fmla="*/ 225 w 737"/>
                  <a:gd name="T25" fmla="*/ 604 h 941"/>
                  <a:gd name="T26" fmla="*/ 272 w 737"/>
                  <a:gd name="T27" fmla="*/ 691 h 941"/>
                  <a:gd name="T28" fmla="*/ 275 w 737"/>
                  <a:gd name="T29" fmla="*/ 765 h 941"/>
                  <a:gd name="T30" fmla="*/ 238 w 737"/>
                  <a:gd name="T31" fmla="*/ 793 h 941"/>
                  <a:gd name="T32" fmla="*/ 174 w 737"/>
                  <a:gd name="T33" fmla="*/ 804 h 941"/>
                  <a:gd name="T34" fmla="*/ 145 w 737"/>
                  <a:gd name="T35" fmla="*/ 808 h 941"/>
                  <a:gd name="T36" fmla="*/ 101 w 737"/>
                  <a:gd name="T37" fmla="*/ 758 h 941"/>
                  <a:gd name="T38" fmla="*/ 74 w 737"/>
                  <a:gd name="T39" fmla="*/ 706 h 941"/>
                  <a:gd name="T40" fmla="*/ 74 w 737"/>
                  <a:gd name="T41" fmla="*/ 663 h 941"/>
                  <a:gd name="T42" fmla="*/ 61 w 737"/>
                  <a:gd name="T43" fmla="*/ 657 h 941"/>
                  <a:gd name="T44" fmla="*/ 51 w 737"/>
                  <a:gd name="T45" fmla="*/ 622 h 941"/>
                  <a:gd name="T46" fmla="*/ 57 w 737"/>
                  <a:gd name="T47" fmla="*/ 611 h 941"/>
                  <a:gd name="T48" fmla="*/ 41 w 737"/>
                  <a:gd name="T49" fmla="*/ 583 h 941"/>
                  <a:gd name="T50" fmla="*/ 21 w 737"/>
                  <a:gd name="T51" fmla="*/ 575 h 941"/>
                  <a:gd name="T52" fmla="*/ 10 w 737"/>
                  <a:gd name="T53" fmla="*/ 536 h 941"/>
                  <a:gd name="T54" fmla="*/ 38 w 737"/>
                  <a:gd name="T55" fmla="*/ 497 h 941"/>
                  <a:gd name="T56" fmla="*/ 78 w 737"/>
                  <a:gd name="T57" fmla="*/ 428 h 941"/>
                  <a:gd name="T58" fmla="*/ 83 w 737"/>
                  <a:gd name="T59" fmla="*/ 383 h 941"/>
                  <a:gd name="T60" fmla="*/ 80 w 737"/>
                  <a:gd name="T61" fmla="*/ 294 h 941"/>
                  <a:gd name="T62" fmla="*/ 133 w 737"/>
                  <a:gd name="T63" fmla="*/ 151 h 941"/>
                  <a:gd name="T64" fmla="*/ 339 w 737"/>
                  <a:gd name="T65" fmla="*/ 16 h 941"/>
                  <a:gd name="T66" fmla="*/ 500 w 737"/>
                  <a:gd name="T67" fmla="*/ 2 h 941"/>
                  <a:gd name="T68" fmla="*/ 575 w 737"/>
                  <a:gd name="T69" fmla="*/ 10 h 941"/>
                  <a:gd name="T70" fmla="*/ 557 w 737"/>
                  <a:gd name="T71" fmla="*/ 71 h 941"/>
                  <a:gd name="T72" fmla="*/ 550 w 737"/>
                  <a:gd name="T73" fmla="*/ 205 h 941"/>
                  <a:gd name="T74" fmla="*/ 587 w 737"/>
                  <a:gd name="T75" fmla="*/ 356 h 941"/>
                  <a:gd name="T76" fmla="*/ 727 w 737"/>
                  <a:gd name="T77" fmla="*/ 523 h 941"/>
                  <a:gd name="T78" fmla="*/ 737 w 737"/>
                  <a:gd name="T79" fmla="*/ 530 h 941"/>
                  <a:gd name="T80" fmla="*/ 699 w 737"/>
                  <a:gd name="T81" fmla="*/ 582 h 941"/>
                  <a:gd name="T82" fmla="*/ 612 w 737"/>
                  <a:gd name="T83" fmla="*/ 774 h 941"/>
                  <a:gd name="T84" fmla="*/ 653 w 737"/>
                  <a:gd name="T85" fmla="*/ 934 h 941"/>
                  <a:gd name="T86" fmla="*/ 658 w 737"/>
                  <a:gd name="T87" fmla="*/ 941 h 941"/>
                  <a:gd name="T88" fmla="*/ 594 w 737"/>
                  <a:gd name="T89" fmla="*/ 918 h 941"/>
                  <a:gd name="T90" fmla="*/ 471 w 737"/>
                  <a:gd name="T91" fmla="*/ 861 h 941"/>
                  <a:gd name="T92" fmla="*/ 433 w 737"/>
                  <a:gd name="T93" fmla="*/ 782 h 941"/>
                  <a:gd name="T94" fmla="*/ 435 w 737"/>
                  <a:gd name="T95" fmla="*/ 768 h 941"/>
                  <a:gd name="T96" fmla="*/ 472 w 737"/>
                  <a:gd name="T97" fmla="*/ 737 h 941"/>
                  <a:gd name="T98" fmla="*/ 524 w 737"/>
                  <a:gd name="T99" fmla="*/ 742 h 941"/>
                  <a:gd name="T100" fmla="*/ 561 w 737"/>
                  <a:gd name="T101" fmla="*/ 716 h 941"/>
                  <a:gd name="T102" fmla="*/ 576 w 737"/>
                  <a:gd name="T103" fmla="*/ 688 h 941"/>
                  <a:gd name="T104" fmla="*/ 576 w 737"/>
                  <a:gd name="T105" fmla="*/ 666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7" h="941">
                    <a:moveTo>
                      <a:pt x="576" y="666"/>
                    </a:moveTo>
                    <a:cubicBezTo>
                      <a:pt x="578" y="665"/>
                      <a:pt x="580" y="664"/>
                      <a:pt x="582" y="662"/>
                    </a:cubicBezTo>
                    <a:cubicBezTo>
                      <a:pt x="589" y="657"/>
                      <a:pt x="592" y="652"/>
                      <a:pt x="587" y="644"/>
                    </a:cubicBezTo>
                    <a:cubicBezTo>
                      <a:pt x="580" y="630"/>
                      <a:pt x="582" y="627"/>
                      <a:pt x="596" y="622"/>
                    </a:cubicBezTo>
                    <a:cubicBezTo>
                      <a:pt x="614" y="615"/>
                      <a:pt x="617" y="607"/>
                      <a:pt x="606" y="591"/>
                    </a:cubicBezTo>
                    <a:cubicBezTo>
                      <a:pt x="597" y="578"/>
                      <a:pt x="588" y="566"/>
                      <a:pt x="580" y="553"/>
                    </a:cubicBezTo>
                    <a:cubicBezTo>
                      <a:pt x="571" y="538"/>
                      <a:pt x="566" y="524"/>
                      <a:pt x="572" y="506"/>
                    </a:cubicBezTo>
                    <a:cubicBezTo>
                      <a:pt x="578" y="487"/>
                      <a:pt x="573" y="466"/>
                      <a:pt x="568" y="446"/>
                    </a:cubicBezTo>
                    <a:cubicBezTo>
                      <a:pt x="548" y="374"/>
                      <a:pt x="502" y="331"/>
                      <a:pt x="429" y="316"/>
                    </a:cubicBezTo>
                    <a:cubicBezTo>
                      <a:pt x="395" y="309"/>
                      <a:pt x="361" y="306"/>
                      <a:pt x="326" y="311"/>
                    </a:cubicBezTo>
                    <a:cubicBezTo>
                      <a:pt x="270" y="317"/>
                      <a:pt x="232" y="350"/>
                      <a:pt x="208" y="400"/>
                    </a:cubicBezTo>
                    <a:cubicBezTo>
                      <a:pt x="190" y="437"/>
                      <a:pt x="184" y="476"/>
                      <a:pt x="188" y="516"/>
                    </a:cubicBezTo>
                    <a:cubicBezTo>
                      <a:pt x="191" y="549"/>
                      <a:pt x="206" y="578"/>
                      <a:pt x="225" y="604"/>
                    </a:cubicBezTo>
                    <a:cubicBezTo>
                      <a:pt x="244" y="631"/>
                      <a:pt x="262" y="659"/>
                      <a:pt x="272" y="691"/>
                    </a:cubicBezTo>
                    <a:cubicBezTo>
                      <a:pt x="279" y="715"/>
                      <a:pt x="282" y="740"/>
                      <a:pt x="275" y="765"/>
                    </a:cubicBezTo>
                    <a:cubicBezTo>
                      <a:pt x="269" y="784"/>
                      <a:pt x="258" y="793"/>
                      <a:pt x="238" y="793"/>
                    </a:cubicBezTo>
                    <a:cubicBezTo>
                      <a:pt x="216" y="793"/>
                      <a:pt x="195" y="797"/>
                      <a:pt x="174" y="804"/>
                    </a:cubicBezTo>
                    <a:cubicBezTo>
                      <a:pt x="165" y="808"/>
                      <a:pt x="154" y="809"/>
                      <a:pt x="145" y="808"/>
                    </a:cubicBezTo>
                    <a:cubicBezTo>
                      <a:pt x="117" y="805"/>
                      <a:pt x="105" y="787"/>
                      <a:pt x="101" y="758"/>
                    </a:cubicBezTo>
                    <a:cubicBezTo>
                      <a:pt x="99" y="737"/>
                      <a:pt x="93" y="718"/>
                      <a:pt x="74" y="706"/>
                    </a:cubicBezTo>
                    <a:cubicBezTo>
                      <a:pt x="58" y="694"/>
                      <a:pt x="58" y="681"/>
                      <a:pt x="74" y="663"/>
                    </a:cubicBezTo>
                    <a:cubicBezTo>
                      <a:pt x="70" y="661"/>
                      <a:pt x="65" y="659"/>
                      <a:pt x="61" y="657"/>
                    </a:cubicBezTo>
                    <a:cubicBezTo>
                      <a:pt x="46" y="649"/>
                      <a:pt x="42" y="637"/>
                      <a:pt x="51" y="622"/>
                    </a:cubicBezTo>
                    <a:cubicBezTo>
                      <a:pt x="54" y="618"/>
                      <a:pt x="56" y="615"/>
                      <a:pt x="57" y="611"/>
                    </a:cubicBezTo>
                    <a:cubicBezTo>
                      <a:pt x="61" y="597"/>
                      <a:pt x="55" y="588"/>
                      <a:pt x="41" y="583"/>
                    </a:cubicBezTo>
                    <a:cubicBezTo>
                      <a:pt x="34" y="581"/>
                      <a:pt x="27" y="579"/>
                      <a:pt x="21" y="575"/>
                    </a:cubicBezTo>
                    <a:cubicBezTo>
                      <a:pt x="5" y="567"/>
                      <a:pt x="0" y="552"/>
                      <a:pt x="10" y="536"/>
                    </a:cubicBezTo>
                    <a:cubicBezTo>
                      <a:pt x="18" y="523"/>
                      <a:pt x="29" y="511"/>
                      <a:pt x="38" y="497"/>
                    </a:cubicBezTo>
                    <a:cubicBezTo>
                      <a:pt x="51" y="474"/>
                      <a:pt x="64" y="451"/>
                      <a:pt x="78" y="428"/>
                    </a:cubicBezTo>
                    <a:cubicBezTo>
                      <a:pt x="86" y="414"/>
                      <a:pt x="88" y="398"/>
                      <a:pt x="83" y="383"/>
                    </a:cubicBezTo>
                    <a:cubicBezTo>
                      <a:pt x="74" y="353"/>
                      <a:pt x="75" y="324"/>
                      <a:pt x="80" y="294"/>
                    </a:cubicBezTo>
                    <a:cubicBezTo>
                      <a:pt x="88" y="243"/>
                      <a:pt x="104" y="195"/>
                      <a:pt x="133" y="151"/>
                    </a:cubicBezTo>
                    <a:cubicBezTo>
                      <a:pt x="182" y="77"/>
                      <a:pt x="252" y="33"/>
                      <a:pt x="339" y="16"/>
                    </a:cubicBezTo>
                    <a:cubicBezTo>
                      <a:pt x="392" y="5"/>
                      <a:pt x="446" y="0"/>
                      <a:pt x="500" y="2"/>
                    </a:cubicBezTo>
                    <a:cubicBezTo>
                      <a:pt x="525" y="3"/>
                      <a:pt x="550" y="7"/>
                      <a:pt x="575" y="10"/>
                    </a:cubicBezTo>
                    <a:cubicBezTo>
                      <a:pt x="568" y="32"/>
                      <a:pt x="562" y="51"/>
                      <a:pt x="557" y="71"/>
                    </a:cubicBezTo>
                    <a:cubicBezTo>
                      <a:pt x="547" y="115"/>
                      <a:pt x="546" y="160"/>
                      <a:pt x="550" y="205"/>
                    </a:cubicBezTo>
                    <a:cubicBezTo>
                      <a:pt x="554" y="257"/>
                      <a:pt x="566" y="307"/>
                      <a:pt x="587" y="356"/>
                    </a:cubicBezTo>
                    <a:cubicBezTo>
                      <a:pt x="618" y="425"/>
                      <a:pt x="664" y="481"/>
                      <a:pt x="727" y="523"/>
                    </a:cubicBezTo>
                    <a:cubicBezTo>
                      <a:pt x="730" y="525"/>
                      <a:pt x="733" y="527"/>
                      <a:pt x="737" y="530"/>
                    </a:cubicBezTo>
                    <a:cubicBezTo>
                      <a:pt x="725" y="548"/>
                      <a:pt x="711" y="564"/>
                      <a:pt x="699" y="582"/>
                    </a:cubicBezTo>
                    <a:cubicBezTo>
                      <a:pt x="658" y="640"/>
                      <a:pt x="624" y="702"/>
                      <a:pt x="612" y="774"/>
                    </a:cubicBezTo>
                    <a:cubicBezTo>
                      <a:pt x="602" y="833"/>
                      <a:pt x="612" y="888"/>
                      <a:pt x="653" y="934"/>
                    </a:cubicBezTo>
                    <a:cubicBezTo>
                      <a:pt x="655" y="936"/>
                      <a:pt x="655" y="937"/>
                      <a:pt x="658" y="941"/>
                    </a:cubicBezTo>
                    <a:cubicBezTo>
                      <a:pt x="635" y="933"/>
                      <a:pt x="615" y="926"/>
                      <a:pt x="594" y="918"/>
                    </a:cubicBezTo>
                    <a:cubicBezTo>
                      <a:pt x="552" y="901"/>
                      <a:pt x="511" y="883"/>
                      <a:pt x="471" y="861"/>
                    </a:cubicBezTo>
                    <a:cubicBezTo>
                      <a:pt x="439" y="843"/>
                      <a:pt x="432" y="815"/>
                      <a:pt x="433" y="782"/>
                    </a:cubicBezTo>
                    <a:cubicBezTo>
                      <a:pt x="433" y="777"/>
                      <a:pt x="433" y="772"/>
                      <a:pt x="435" y="768"/>
                    </a:cubicBezTo>
                    <a:cubicBezTo>
                      <a:pt x="440" y="749"/>
                      <a:pt x="447" y="741"/>
                      <a:pt x="472" y="737"/>
                    </a:cubicBezTo>
                    <a:cubicBezTo>
                      <a:pt x="490" y="734"/>
                      <a:pt x="507" y="738"/>
                      <a:pt x="524" y="742"/>
                    </a:cubicBezTo>
                    <a:cubicBezTo>
                      <a:pt x="546" y="748"/>
                      <a:pt x="558" y="737"/>
                      <a:pt x="561" y="716"/>
                    </a:cubicBezTo>
                    <a:cubicBezTo>
                      <a:pt x="562" y="704"/>
                      <a:pt x="565" y="695"/>
                      <a:pt x="576" y="688"/>
                    </a:cubicBezTo>
                    <a:cubicBezTo>
                      <a:pt x="583" y="684"/>
                      <a:pt x="583" y="675"/>
                      <a:pt x="576" y="6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r>
                  <a:rPr lang="en-US" dirty="0"/>
                  <a:t>       </a:t>
                </a:r>
                <a:endParaRPr lang="en-US" dirty="0"/>
              </a:p>
            </p:txBody>
          </p:sp>
          <p:sp>
            <p:nvSpPr>
              <p:cNvPr id="1040" name="Freeform 807"/>
              <p:cNvSpPr/>
              <p:nvPr/>
            </p:nvSpPr>
            <p:spPr bwMode="auto">
              <a:xfrm>
                <a:off x="-2508251" y="1446213"/>
                <a:ext cx="1206500" cy="2481263"/>
              </a:xfrm>
              <a:custGeom>
                <a:avLst/>
                <a:gdLst>
                  <a:gd name="T0" fmla="*/ 392 w 403"/>
                  <a:gd name="T1" fmla="*/ 0 h 831"/>
                  <a:gd name="T2" fmla="*/ 351 w 403"/>
                  <a:gd name="T3" fmla="*/ 7 h 831"/>
                  <a:gd name="T4" fmla="*/ 105 w 403"/>
                  <a:gd name="T5" fmla="*/ 217 h 831"/>
                  <a:gd name="T6" fmla="*/ 99 w 403"/>
                  <a:gd name="T7" fmla="*/ 236 h 831"/>
                  <a:gd name="T8" fmla="*/ 85 w 403"/>
                  <a:gd name="T9" fmla="*/ 358 h 831"/>
                  <a:gd name="T10" fmla="*/ 92 w 403"/>
                  <a:gd name="T11" fmla="*/ 409 h 831"/>
                  <a:gd name="T12" fmla="*/ 28 w 403"/>
                  <a:gd name="T13" fmla="*/ 515 h 831"/>
                  <a:gd name="T14" fmla="*/ 17 w 403"/>
                  <a:gd name="T15" fmla="*/ 565 h 831"/>
                  <a:gd name="T16" fmla="*/ 50 w 403"/>
                  <a:gd name="T17" fmla="*/ 582 h 831"/>
                  <a:gd name="T18" fmla="*/ 60 w 403"/>
                  <a:gd name="T19" fmla="*/ 618 h 831"/>
                  <a:gd name="T20" fmla="*/ 83 w 403"/>
                  <a:gd name="T21" fmla="*/ 661 h 831"/>
                  <a:gd name="T22" fmla="*/ 82 w 403"/>
                  <a:gd name="T23" fmla="*/ 705 h 831"/>
                  <a:gd name="T24" fmla="*/ 109 w 403"/>
                  <a:gd name="T25" fmla="*/ 759 h 831"/>
                  <a:gd name="T26" fmla="*/ 111 w 403"/>
                  <a:gd name="T27" fmla="*/ 768 h 831"/>
                  <a:gd name="T28" fmla="*/ 191 w 403"/>
                  <a:gd name="T29" fmla="*/ 801 h 831"/>
                  <a:gd name="T30" fmla="*/ 249 w 403"/>
                  <a:gd name="T31" fmla="*/ 792 h 831"/>
                  <a:gd name="T32" fmla="*/ 282 w 403"/>
                  <a:gd name="T33" fmla="*/ 772 h 831"/>
                  <a:gd name="T34" fmla="*/ 241 w 403"/>
                  <a:gd name="T35" fmla="*/ 612 h 831"/>
                  <a:gd name="T36" fmla="*/ 210 w 403"/>
                  <a:gd name="T37" fmla="*/ 560 h 831"/>
                  <a:gd name="T38" fmla="*/ 203 w 403"/>
                  <a:gd name="T39" fmla="*/ 544 h 831"/>
                  <a:gd name="T40" fmla="*/ 213 w 403"/>
                  <a:gd name="T41" fmla="*/ 404 h 831"/>
                  <a:gd name="T42" fmla="*/ 303 w 403"/>
                  <a:gd name="T43" fmla="*/ 313 h 831"/>
                  <a:gd name="T44" fmla="*/ 403 w 403"/>
                  <a:gd name="T45" fmla="*/ 306 h 831"/>
                  <a:gd name="T46" fmla="*/ 392 w 403"/>
                  <a:gd name="T47" fmla="*/ 0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3" h="831">
                    <a:moveTo>
                      <a:pt x="392" y="0"/>
                    </a:moveTo>
                    <a:cubicBezTo>
                      <a:pt x="367" y="3"/>
                      <a:pt x="351" y="7"/>
                      <a:pt x="351" y="7"/>
                    </a:cubicBezTo>
                    <a:cubicBezTo>
                      <a:pt x="200" y="36"/>
                      <a:pt x="132" y="139"/>
                      <a:pt x="105" y="217"/>
                    </a:cubicBezTo>
                    <a:cubicBezTo>
                      <a:pt x="103" y="224"/>
                      <a:pt x="100" y="230"/>
                      <a:pt x="99" y="236"/>
                    </a:cubicBezTo>
                    <a:cubicBezTo>
                      <a:pt x="76" y="315"/>
                      <a:pt x="85" y="358"/>
                      <a:pt x="85" y="358"/>
                    </a:cubicBezTo>
                    <a:cubicBezTo>
                      <a:pt x="88" y="371"/>
                      <a:pt x="97" y="394"/>
                      <a:pt x="92" y="409"/>
                    </a:cubicBezTo>
                    <a:cubicBezTo>
                      <a:pt x="79" y="442"/>
                      <a:pt x="49" y="491"/>
                      <a:pt x="28" y="515"/>
                    </a:cubicBezTo>
                    <a:cubicBezTo>
                      <a:pt x="0" y="549"/>
                      <a:pt x="17" y="565"/>
                      <a:pt x="17" y="565"/>
                    </a:cubicBezTo>
                    <a:cubicBezTo>
                      <a:pt x="33" y="579"/>
                      <a:pt x="50" y="582"/>
                      <a:pt x="50" y="582"/>
                    </a:cubicBezTo>
                    <a:cubicBezTo>
                      <a:pt x="78" y="590"/>
                      <a:pt x="60" y="618"/>
                      <a:pt x="60" y="618"/>
                    </a:cubicBezTo>
                    <a:cubicBezTo>
                      <a:pt x="36" y="651"/>
                      <a:pt x="83" y="661"/>
                      <a:pt x="83" y="661"/>
                    </a:cubicBezTo>
                    <a:cubicBezTo>
                      <a:pt x="52" y="684"/>
                      <a:pt x="82" y="705"/>
                      <a:pt x="82" y="705"/>
                    </a:cubicBezTo>
                    <a:cubicBezTo>
                      <a:pt x="99" y="713"/>
                      <a:pt x="109" y="743"/>
                      <a:pt x="109" y="759"/>
                    </a:cubicBezTo>
                    <a:cubicBezTo>
                      <a:pt x="109" y="765"/>
                      <a:pt x="110" y="763"/>
                      <a:pt x="111" y="768"/>
                    </a:cubicBezTo>
                    <a:cubicBezTo>
                      <a:pt x="126" y="831"/>
                      <a:pt x="191" y="801"/>
                      <a:pt x="191" y="801"/>
                    </a:cubicBezTo>
                    <a:cubicBezTo>
                      <a:pt x="212" y="795"/>
                      <a:pt x="232" y="792"/>
                      <a:pt x="249" y="792"/>
                    </a:cubicBezTo>
                    <a:cubicBezTo>
                      <a:pt x="263" y="793"/>
                      <a:pt x="276" y="785"/>
                      <a:pt x="282" y="772"/>
                    </a:cubicBezTo>
                    <a:cubicBezTo>
                      <a:pt x="311" y="701"/>
                      <a:pt x="241" y="612"/>
                      <a:pt x="241" y="612"/>
                    </a:cubicBezTo>
                    <a:cubicBezTo>
                      <a:pt x="228" y="596"/>
                      <a:pt x="217" y="575"/>
                      <a:pt x="210" y="560"/>
                    </a:cubicBezTo>
                    <a:cubicBezTo>
                      <a:pt x="205" y="550"/>
                      <a:pt x="203" y="544"/>
                      <a:pt x="203" y="544"/>
                    </a:cubicBezTo>
                    <a:cubicBezTo>
                      <a:pt x="181" y="472"/>
                      <a:pt x="213" y="404"/>
                      <a:pt x="213" y="404"/>
                    </a:cubicBezTo>
                    <a:cubicBezTo>
                      <a:pt x="241" y="334"/>
                      <a:pt x="303" y="313"/>
                      <a:pt x="303" y="313"/>
                    </a:cubicBezTo>
                    <a:cubicBezTo>
                      <a:pt x="332" y="302"/>
                      <a:pt x="373" y="303"/>
                      <a:pt x="403" y="306"/>
                    </a:cubicBezTo>
                    <a:cubicBezTo>
                      <a:pt x="370" y="195"/>
                      <a:pt x="368" y="83"/>
                      <a:pt x="39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41" name="Freeform 808"/>
              <p:cNvSpPr/>
              <p:nvPr/>
            </p:nvSpPr>
            <p:spPr bwMode="auto">
              <a:xfrm>
                <a:off x="-1227138" y="3289300"/>
                <a:ext cx="739775" cy="976313"/>
              </a:xfrm>
              <a:custGeom>
                <a:avLst/>
                <a:gdLst>
                  <a:gd name="T0" fmla="*/ 240 w 247"/>
                  <a:gd name="T1" fmla="*/ 36 h 327"/>
                  <a:gd name="T2" fmla="*/ 186 w 247"/>
                  <a:gd name="T3" fmla="*/ 0 h 327"/>
                  <a:gd name="T4" fmla="*/ 176 w 247"/>
                  <a:gd name="T5" fmla="*/ 4 h 327"/>
                  <a:gd name="T6" fmla="*/ 171 w 247"/>
                  <a:gd name="T7" fmla="*/ 23 h 327"/>
                  <a:gd name="T8" fmla="*/ 158 w 247"/>
                  <a:gd name="T9" fmla="*/ 47 h 327"/>
                  <a:gd name="T10" fmla="*/ 159 w 247"/>
                  <a:gd name="T11" fmla="*/ 70 h 327"/>
                  <a:gd name="T12" fmla="*/ 144 w 247"/>
                  <a:gd name="T13" fmla="*/ 99 h 327"/>
                  <a:gd name="T14" fmla="*/ 143 w 247"/>
                  <a:gd name="T15" fmla="*/ 105 h 327"/>
                  <a:gd name="T16" fmla="*/ 100 w 247"/>
                  <a:gd name="T17" fmla="*/ 122 h 327"/>
                  <a:gd name="T18" fmla="*/ 38 w 247"/>
                  <a:gd name="T19" fmla="*/ 123 h 327"/>
                  <a:gd name="T20" fmla="*/ 22 w 247"/>
                  <a:gd name="T21" fmla="*/ 214 h 327"/>
                  <a:gd name="T22" fmla="*/ 247 w 247"/>
                  <a:gd name="T23" fmla="*/ 327 h 327"/>
                  <a:gd name="T24" fmla="*/ 240 w 247"/>
                  <a:gd name="T25" fmla="*/ 36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7" h="327">
                    <a:moveTo>
                      <a:pt x="240" y="36"/>
                    </a:moveTo>
                    <a:cubicBezTo>
                      <a:pt x="221" y="25"/>
                      <a:pt x="203" y="13"/>
                      <a:pt x="186" y="0"/>
                    </a:cubicBezTo>
                    <a:cubicBezTo>
                      <a:pt x="180" y="3"/>
                      <a:pt x="176" y="4"/>
                      <a:pt x="176" y="4"/>
                    </a:cubicBezTo>
                    <a:cubicBezTo>
                      <a:pt x="161" y="9"/>
                      <a:pt x="171" y="23"/>
                      <a:pt x="171" y="23"/>
                    </a:cubicBezTo>
                    <a:cubicBezTo>
                      <a:pt x="183" y="41"/>
                      <a:pt x="158" y="47"/>
                      <a:pt x="158" y="47"/>
                    </a:cubicBezTo>
                    <a:cubicBezTo>
                      <a:pt x="175" y="59"/>
                      <a:pt x="159" y="70"/>
                      <a:pt x="159" y="70"/>
                    </a:cubicBezTo>
                    <a:cubicBezTo>
                      <a:pt x="150" y="75"/>
                      <a:pt x="144" y="91"/>
                      <a:pt x="144" y="99"/>
                    </a:cubicBezTo>
                    <a:cubicBezTo>
                      <a:pt x="144" y="103"/>
                      <a:pt x="144" y="101"/>
                      <a:pt x="143" y="105"/>
                    </a:cubicBezTo>
                    <a:cubicBezTo>
                      <a:pt x="135" y="138"/>
                      <a:pt x="100" y="122"/>
                      <a:pt x="100" y="122"/>
                    </a:cubicBezTo>
                    <a:cubicBezTo>
                      <a:pt x="73" y="114"/>
                      <a:pt x="52" y="118"/>
                      <a:pt x="38" y="123"/>
                    </a:cubicBezTo>
                    <a:cubicBezTo>
                      <a:pt x="0" y="138"/>
                      <a:pt x="22" y="214"/>
                      <a:pt x="22" y="214"/>
                    </a:cubicBezTo>
                    <a:cubicBezTo>
                      <a:pt x="38" y="257"/>
                      <a:pt x="247" y="327"/>
                      <a:pt x="247" y="327"/>
                    </a:cubicBezTo>
                    <a:cubicBezTo>
                      <a:pt x="159" y="240"/>
                      <a:pt x="197" y="118"/>
                      <a:pt x="240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42" name="Freeform 809"/>
              <p:cNvSpPr/>
              <p:nvPr/>
            </p:nvSpPr>
            <p:spPr bwMode="auto">
              <a:xfrm>
                <a:off x="-2508251" y="1652588"/>
                <a:ext cx="931863" cy="2274888"/>
              </a:xfrm>
              <a:custGeom>
                <a:avLst/>
                <a:gdLst>
                  <a:gd name="T0" fmla="*/ 210 w 311"/>
                  <a:gd name="T1" fmla="*/ 491 h 762"/>
                  <a:gd name="T2" fmla="*/ 203 w 311"/>
                  <a:gd name="T3" fmla="*/ 475 h 762"/>
                  <a:gd name="T4" fmla="*/ 213 w 311"/>
                  <a:gd name="T5" fmla="*/ 335 h 762"/>
                  <a:gd name="T6" fmla="*/ 248 w 311"/>
                  <a:gd name="T7" fmla="*/ 281 h 762"/>
                  <a:gd name="T8" fmla="*/ 210 w 311"/>
                  <a:gd name="T9" fmla="*/ 0 h 762"/>
                  <a:gd name="T10" fmla="*/ 105 w 311"/>
                  <a:gd name="T11" fmla="*/ 148 h 762"/>
                  <a:gd name="T12" fmla="*/ 99 w 311"/>
                  <a:gd name="T13" fmla="*/ 167 h 762"/>
                  <a:gd name="T14" fmla="*/ 85 w 311"/>
                  <a:gd name="T15" fmla="*/ 289 h 762"/>
                  <a:gd name="T16" fmla="*/ 92 w 311"/>
                  <a:gd name="T17" fmla="*/ 340 h 762"/>
                  <a:gd name="T18" fmla="*/ 28 w 311"/>
                  <a:gd name="T19" fmla="*/ 446 h 762"/>
                  <a:gd name="T20" fmla="*/ 17 w 311"/>
                  <a:gd name="T21" fmla="*/ 496 h 762"/>
                  <a:gd name="T22" fmla="*/ 50 w 311"/>
                  <a:gd name="T23" fmla="*/ 513 h 762"/>
                  <a:gd name="T24" fmla="*/ 60 w 311"/>
                  <a:gd name="T25" fmla="*/ 549 h 762"/>
                  <a:gd name="T26" fmla="*/ 83 w 311"/>
                  <a:gd name="T27" fmla="*/ 592 h 762"/>
                  <a:gd name="T28" fmla="*/ 82 w 311"/>
                  <a:gd name="T29" fmla="*/ 636 h 762"/>
                  <a:gd name="T30" fmla="*/ 109 w 311"/>
                  <a:gd name="T31" fmla="*/ 690 h 762"/>
                  <a:gd name="T32" fmla="*/ 111 w 311"/>
                  <a:gd name="T33" fmla="*/ 699 h 762"/>
                  <a:gd name="T34" fmla="*/ 191 w 311"/>
                  <a:gd name="T35" fmla="*/ 732 h 762"/>
                  <a:gd name="T36" fmla="*/ 249 w 311"/>
                  <a:gd name="T37" fmla="*/ 723 h 762"/>
                  <a:gd name="T38" fmla="*/ 282 w 311"/>
                  <a:gd name="T39" fmla="*/ 703 h 762"/>
                  <a:gd name="T40" fmla="*/ 241 w 311"/>
                  <a:gd name="T41" fmla="*/ 543 h 762"/>
                  <a:gd name="T42" fmla="*/ 210 w 311"/>
                  <a:gd name="T43" fmla="*/ 491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1" h="762">
                    <a:moveTo>
                      <a:pt x="210" y="491"/>
                    </a:moveTo>
                    <a:cubicBezTo>
                      <a:pt x="205" y="481"/>
                      <a:pt x="203" y="475"/>
                      <a:pt x="203" y="475"/>
                    </a:cubicBezTo>
                    <a:cubicBezTo>
                      <a:pt x="181" y="403"/>
                      <a:pt x="213" y="335"/>
                      <a:pt x="213" y="335"/>
                    </a:cubicBezTo>
                    <a:cubicBezTo>
                      <a:pt x="222" y="312"/>
                      <a:pt x="235" y="294"/>
                      <a:pt x="248" y="281"/>
                    </a:cubicBezTo>
                    <a:cubicBezTo>
                      <a:pt x="212" y="183"/>
                      <a:pt x="199" y="83"/>
                      <a:pt x="210" y="0"/>
                    </a:cubicBezTo>
                    <a:cubicBezTo>
                      <a:pt x="153" y="44"/>
                      <a:pt x="122" y="101"/>
                      <a:pt x="105" y="148"/>
                    </a:cubicBezTo>
                    <a:cubicBezTo>
                      <a:pt x="103" y="155"/>
                      <a:pt x="100" y="161"/>
                      <a:pt x="99" y="167"/>
                    </a:cubicBezTo>
                    <a:cubicBezTo>
                      <a:pt x="76" y="246"/>
                      <a:pt x="85" y="289"/>
                      <a:pt x="85" y="289"/>
                    </a:cubicBezTo>
                    <a:cubicBezTo>
                      <a:pt x="88" y="302"/>
                      <a:pt x="97" y="325"/>
                      <a:pt x="92" y="340"/>
                    </a:cubicBezTo>
                    <a:cubicBezTo>
                      <a:pt x="79" y="373"/>
                      <a:pt x="49" y="422"/>
                      <a:pt x="28" y="446"/>
                    </a:cubicBezTo>
                    <a:cubicBezTo>
                      <a:pt x="0" y="480"/>
                      <a:pt x="17" y="496"/>
                      <a:pt x="17" y="496"/>
                    </a:cubicBezTo>
                    <a:cubicBezTo>
                      <a:pt x="33" y="510"/>
                      <a:pt x="50" y="513"/>
                      <a:pt x="50" y="513"/>
                    </a:cubicBezTo>
                    <a:cubicBezTo>
                      <a:pt x="78" y="521"/>
                      <a:pt x="60" y="549"/>
                      <a:pt x="60" y="549"/>
                    </a:cubicBezTo>
                    <a:cubicBezTo>
                      <a:pt x="36" y="582"/>
                      <a:pt x="83" y="592"/>
                      <a:pt x="83" y="592"/>
                    </a:cubicBezTo>
                    <a:cubicBezTo>
                      <a:pt x="52" y="615"/>
                      <a:pt x="82" y="636"/>
                      <a:pt x="82" y="636"/>
                    </a:cubicBezTo>
                    <a:cubicBezTo>
                      <a:pt x="99" y="644"/>
                      <a:pt x="109" y="674"/>
                      <a:pt x="109" y="690"/>
                    </a:cubicBezTo>
                    <a:cubicBezTo>
                      <a:pt x="109" y="696"/>
                      <a:pt x="110" y="694"/>
                      <a:pt x="111" y="699"/>
                    </a:cubicBezTo>
                    <a:cubicBezTo>
                      <a:pt x="126" y="762"/>
                      <a:pt x="191" y="732"/>
                      <a:pt x="191" y="732"/>
                    </a:cubicBezTo>
                    <a:cubicBezTo>
                      <a:pt x="212" y="726"/>
                      <a:pt x="232" y="723"/>
                      <a:pt x="249" y="723"/>
                    </a:cubicBezTo>
                    <a:cubicBezTo>
                      <a:pt x="263" y="724"/>
                      <a:pt x="276" y="716"/>
                      <a:pt x="282" y="703"/>
                    </a:cubicBezTo>
                    <a:cubicBezTo>
                      <a:pt x="311" y="632"/>
                      <a:pt x="241" y="543"/>
                      <a:pt x="241" y="543"/>
                    </a:cubicBezTo>
                    <a:cubicBezTo>
                      <a:pt x="228" y="527"/>
                      <a:pt x="217" y="506"/>
                      <a:pt x="210" y="49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43" name="Freeform 810"/>
              <p:cNvSpPr/>
              <p:nvPr/>
            </p:nvSpPr>
            <p:spPr bwMode="auto">
              <a:xfrm>
                <a:off x="-1227138" y="3629025"/>
                <a:ext cx="739775" cy="636588"/>
              </a:xfrm>
              <a:custGeom>
                <a:avLst/>
                <a:gdLst>
                  <a:gd name="T0" fmla="*/ 199 w 247"/>
                  <a:gd name="T1" fmla="*/ 33 h 213"/>
                  <a:gd name="T2" fmla="*/ 136 w 247"/>
                  <a:gd name="T3" fmla="*/ 5 h 213"/>
                  <a:gd name="T4" fmla="*/ 100 w 247"/>
                  <a:gd name="T5" fmla="*/ 8 h 213"/>
                  <a:gd name="T6" fmla="*/ 38 w 247"/>
                  <a:gd name="T7" fmla="*/ 9 h 213"/>
                  <a:gd name="T8" fmla="*/ 22 w 247"/>
                  <a:gd name="T9" fmla="*/ 100 h 213"/>
                  <a:gd name="T10" fmla="*/ 247 w 247"/>
                  <a:gd name="T11" fmla="*/ 213 h 213"/>
                  <a:gd name="T12" fmla="*/ 199 w 247"/>
                  <a:gd name="T13" fmla="*/ 3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7" h="213">
                    <a:moveTo>
                      <a:pt x="199" y="33"/>
                    </a:moveTo>
                    <a:cubicBezTo>
                      <a:pt x="177" y="25"/>
                      <a:pt x="156" y="15"/>
                      <a:pt x="136" y="5"/>
                    </a:cubicBezTo>
                    <a:cubicBezTo>
                      <a:pt x="123" y="19"/>
                      <a:pt x="100" y="8"/>
                      <a:pt x="100" y="8"/>
                    </a:cubicBezTo>
                    <a:cubicBezTo>
                      <a:pt x="73" y="0"/>
                      <a:pt x="52" y="4"/>
                      <a:pt x="38" y="9"/>
                    </a:cubicBezTo>
                    <a:cubicBezTo>
                      <a:pt x="0" y="24"/>
                      <a:pt x="22" y="100"/>
                      <a:pt x="22" y="100"/>
                    </a:cubicBezTo>
                    <a:cubicBezTo>
                      <a:pt x="38" y="143"/>
                      <a:pt x="247" y="213"/>
                      <a:pt x="247" y="213"/>
                    </a:cubicBezTo>
                    <a:cubicBezTo>
                      <a:pt x="194" y="160"/>
                      <a:pt x="186" y="95"/>
                      <a:pt x="199" y="3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44" name="Freeform 811"/>
              <p:cNvSpPr/>
              <p:nvPr/>
            </p:nvSpPr>
            <p:spPr bwMode="auto">
              <a:xfrm>
                <a:off x="-1166813" y="3900488"/>
                <a:ext cx="679450" cy="365125"/>
              </a:xfrm>
              <a:custGeom>
                <a:avLst/>
                <a:gdLst>
                  <a:gd name="T0" fmla="*/ 186 w 227"/>
                  <a:gd name="T1" fmla="*/ 61 h 122"/>
                  <a:gd name="T2" fmla="*/ 0 w 227"/>
                  <a:gd name="T3" fmla="*/ 0 h 122"/>
                  <a:gd name="T4" fmla="*/ 2 w 227"/>
                  <a:gd name="T5" fmla="*/ 9 h 122"/>
                  <a:gd name="T6" fmla="*/ 227 w 227"/>
                  <a:gd name="T7" fmla="*/ 122 h 122"/>
                  <a:gd name="T8" fmla="*/ 186 w 227"/>
                  <a:gd name="T9" fmla="*/ 6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122">
                    <a:moveTo>
                      <a:pt x="186" y="61"/>
                    </a:moveTo>
                    <a:cubicBezTo>
                      <a:pt x="120" y="51"/>
                      <a:pt x="57" y="30"/>
                      <a:pt x="0" y="0"/>
                    </a:cubicBezTo>
                    <a:cubicBezTo>
                      <a:pt x="1" y="6"/>
                      <a:pt x="2" y="9"/>
                      <a:pt x="2" y="9"/>
                    </a:cubicBezTo>
                    <a:cubicBezTo>
                      <a:pt x="18" y="52"/>
                      <a:pt x="227" y="122"/>
                      <a:pt x="227" y="122"/>
                    </a:cubicBezTo>
                    <a:cubicBezTo>
                      <a:pt x="208" y="103"/>
                      <a:pt x="195" y="83"/>
                      <a:pt x="186" y="61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1045" name="Freeform 812"/>
              <p:cNvSpPr/>
              <p:nvPr/>
            </p:nvSpPr>
            <p:spPr bwMode="auto">
              <a:xfrm>
                <a:off x="-2508251" y="2717800"/>
                <a:ext cx="868363" cy="1212850"/>
              </a:xfrm>
              <a:custGeom>
                <a:avLst/>
                <a:gdLst>
                  <a:gd name="T0" fmla="*/ 85 w 290"/>
                  <a:gd name="T1" fmla="*/ 0 h 406"/>
                  <a:gd name="T2" fmla="*/ 28 w 290"/>
                  <a:gd name="T3" fmla="*/ 90 h 406"/>
                  <a:gd name="T4" fmla="*/ 17 w 290"/>
                  <a:gd name="T5" fmla="*/ 140 h 406"/>
                  <a:gd name="T6" fmla="*/ 50 w 290"/>
                  <a:gd name="T7" fmla="*/ 156 h 406"/>
                  <a:gd name="T8" fmla="*/ 60 w 290"/>
                  <a:gd name="T9" fmla="*/ 192 h 406"/>
                  <a:gd name="T10" fmla="*/ 83 w 290"/>
                  <a:gd name="T11" fmla="*/ 236 h 406"/>
                  <a:gd name="T12" fmla="*/ 82 w 290"/>
                  <a:gd name="T13" fmla="*/ 279 h 406"/>
                  <a:gd name="T14" fmla="*/ 109 w 290"/>
                  <a:gd name="T15" fmla="*/ 333 h 406"/>
                  <a:gd name="T16" fmla="*/ 111 w 290"/>
                  <a:gd name="T17" fmla="*/ 343 h 406"/>
                  <a:gd name="T18" fmla="*/ 191 w 290"/>
                  <a:gd name="T19" fmla="*/ 376 h 406"/>
                  <a:gd name="T20" fmla="*/ 249 w 290"/>
                  <a:gd name="T21" fmla="*/ 367 h 406"/>
                  <a:gd name="T22" fmla="*/ 282 w 290"/>
                  <a:gd name="T23" fmla="*/ 347 h 406"/>
                  <a:gd name="T24" fmla="*/ 286 w 290"/>
                  <a:gd name="T25" fmla="*/ 281 h 406"/>
                  <a:gd name="T26" fmla="*/ 85 w 290"/>
                  <a:gd name="T27" fmla="*/ 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0" h="406">
                    <a:moveTo>
                      <a:pt x="85" y="0"/>
                    </a:moveTo>
                    <a:cubicBezTo>
                      <a:pt x="70" y="31"/>
                      <a:pt x="45" y="69"/>
                      <a:pt x="28" y="90"/>
                    </a:cubicBezTo>
                    <a:cubicBezTo>
                      <a:pt x="0" y="124"/>
                      <a:pt x="17" y="140"/>
                      <a:pt x="17" y="140"/>
                    </a:cubicBezTo>
                    <a:cubicBezTo>
                      <a:pt x="33" y="154"/>
                      <a:pt x="50" y="156"/>
                      <a:pt x="50" y="156"/>
                    </a:cubicBezTo>
                    <a:cubicBezTo>
                      <a:pt x="78" y="165"/>
                      <a:pt x="60" y="192"/>
                      <a:pt x="60" y="192"/>
                    </a:cubicBezTo>
                    <a:cubicBezTo>
                      <a:pt x="36" y="225"/>
                      <a:pt x="83" y="236"/>
                      <a:pt x="83" y="236"/>
                    </a:cubicBezTo>
                    <a:cubicBezTo>
                      <a:pt x="52" y="258"/>
                      <a:pt x="82" y="279"/>
                      <a:pt x="82" y="279"/>
                    </a:cubicBezTo>
                    <a:cubicBezTo>
                      <a:pt x="99" y="287"/>
                      <a:pt x="109" y="317"/>
                      <a:pt x="109" y="333"/>
                    </a:cubicBezTo>
                    <a:cubicBezTo>
                      <a:pt x="109" y="340"/>
                      <a:pt x="110" y="337"/>
                      <a:pt x="111" y="343"/>
                    </a:cubicBezTo>
                    <a:cubicBezTo>
                      <a:pt x="126" y="406"/>
                      <a:pt x="191" y="376"/>
                      <a:pt x="191" y="376"/>
                    </a:cubicBezTo>
                    <a:cubicBezTo>
                      <a:pt x="212" y="369"/>
                      <a:pt x="232" y="367"/>
                      <a:pt x="249" y="367"/>
                    </a:cubicBezTo>
                    <a:cubicBezTo>
                      <a:pt x="263" y="367"/>
                      <a:pt x="276" y="360"/>
                      <a:pt x="282" y="347"/>
                    </a:cubicBezTo>
                    <a:cubicBezTo>
                      <a:pt x="290" y="326"/>
                      <a:pt x="290" y="303"/>
                      <a:pt x="286" y="281"/>
                    </a:cubicBezTo>
                    <a:cubicBezTo>
                      <a:pt x="198" y="200"/>
                      <a:pt x="129" y="100"/>
                      <a:pt x="85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1050" name="Freeform 816"/>
            <p:cNvSpPr>
              <a:spLocks noEditPoints="1"/>
            </p:cNvSpPr>
            <p:nvPr/>
          </p:nvSpPr>
          <p:spPr bwMode="auto">
            <a:xfrm>
              <a:off x="5253037" y="2079338"/>
              <a:ext cx="1890713" cy="1633538"/>
            </a:xfrm>
            <a:custGeom>
              <a:avLst/>
              <a:gdLst>
                <a:gd name="T0" fmla="*/ 621 w 631"/>
                <a:gd name="T1" fmla="*/ 200 h 546"/>
                <a:gd name="T2" fmla="*/ 615 w 631"/>
                <a:gd name="T3" fmla="*/ 254 h 546"/>
                <a:gd name="T4" fmla="*/ 510 w 631"/>
                <a:gd name="T5" fmla="*/ 159 h 546"/>
                <a:gd name="T6" fmla="*/ 440 w 631"/>
                <a:gd name="T7" fmla="*/ 78 h 546"/>
                <a:gd name="T8" fmla="*/ 574 w 631"/>
                <a:gd name="T9" fmla="*/ 134 h 546"/>
                <a:gd name="T10" fmla="*/ 576 w 631"/>
                <a:gd name="T11" fmla="*/ 128 h 546"/>
                <a:gd name="T12" fmla="*/ 426 w 631"/>
                <a:gd name="T13" fmla="*/ 53 h 546"/>
                <a:gd name="T14" fmla="*/ 324 w 631"/>
                <a:gd name="T15" fmla="*/ 18 h 546"/>
                <a:gd name="T16" fmla="*/ 258 w 631"/>
                <a:gd name="T17" fmla="*/ 63 h 546"/>
                <a:gd name="T18" fmla="*/ 219 w 631"/>
                <a:gd name="T19" fmla="*/ 69 h 546"/>
                <a:gd name="T20" fmla="*/ 135 w 631"/>
                <a:gd name="T21" fmla="*/ 70 h 546"/>
                <a:gd name="T22" fmla="*/ 129 w 631"/>
                <a:gd name="T23" fmla="*/ 67 h 546"/>
                <a:gd name="T24" fmla="*/ 103 w 631"/>
                <a:gd name="T25" fmla="*/ 126 h 546"/>
                <a:gd name="T26" fmla="*/ 256 w 631"/>
                <a:gd name="T27" fmla="*/ 71 h 546"/>
                <a:gd name="T28" fmla="*/ 179 w 631"/>
                <a:gd name="T29" fmla="*/ 143 h 546"/>
                <a:gd name="T30" fmla="*/ 45 w 631"/>
                <a:gd name="T31" fmla="*/ 180 h 546"/>
                <a:gd name="T32" fmla="*/ 77 w 631"/>
                <a:gd name="T33" fmla="*/ 230 h 546"/>
                <a:gd name="T34" fmla="*/ 41 w 631"/>
                <a:gd name="T35" fmla="*/ 313 h 546"/>
                <a:gd name="T36" fmla="*/ 0 w 631"/>
                <a:gd name="T37" fmla="*/ 266 h 546"/>
                <a:gd name="T38" fmla="*/ 29 w 631"/>
                <a:gd name="T39" fmla="*/ 332 h 546"/>
                <a:gd name="T40" fmla="*/ 89 w 631"/>
                <a:gd name="T41" fmla="*/ 245 h 546"/>
                <a:gd name="T42" fmla="*/ 160 w 631"/>
                <a:gd name="T43" fmla="*/ 277 h 546"/>
                <a:gd name="T44" fmla="*/ 162 w 631"/>
                <a:gd name="T45" fmla="*/ 283 h 546"/>
                <a:gd name="T46" fmla="*/ 263 w 631"/>
                <a:gd name="T47" fmla="*/ 241 h 546"/>
                <a:gd name="T48" fmla="*/ 332 w 631"/>
                <a:gd name="T49" fmla="*/ 160 h 546"/>
                <a:gd name="T50" fmla="*/ 447 w 631"/>
                <a:gd name="T51" fmla="*/ 202 h 546"/>
                <a:gd name="T52" fmla="*/ 392 w 631"/>
                <a:gd name="T53" fmla="*/ 282 h 546"/>
                <a:gd name="T54" fmla="*/ 353 w 631"/>
                <a:gd name="T55" fmla="*/ 223 h 546"/>
                <a:gd name="T56" fmla="*/ 367 w 631"/>
                <a:gd name="T57" fmla="*/ 278 h 546"/>
                <a:gd name="T58" fmla="*/ 526 w 631"/>
                <a:gd name="T59" fmla="*/ 307 h 546"/>
                <a:gd name="T60" fmla="*/ 435 w 631"/>
                <a:gd name="T61" fmla="*/ 349 h 546"/>
                <a:gd name="T62" fmla="*/ 527 w 631"/>
                <a:gd name="T63" fmla="*/ 314 h 546"/>
                <a:gd name="T64" fmla="*/ 606 w 631"/>
                <a:gd name="T65" fmla="*/ 388 h 546"/>
                <a:gd name="T66" fmla="*/ 558 w 631"/>
                <a:gd name="T67" fmla="*/ 457 h 546"/>
                <a:gd name="T68" fmla="*/ 503 w 631"/>
                <a:gd name="T69" fmla="*/ 385 h 546"/>
                <a:gd name="T70" fmla="*/ 532 w 631"/>
                <a:gd name="T71" fmla="*/ 546 h 546"/>
                <a:gd name="T72" fmla="*/ 518 w 631"/>
                <a:gd name="T73" fmla="*/ 396 h 546"/>
                <a:gd name="T74" fmla="*/ 585 w 631"/>
                <a:gd name="T75" fmla="*/ 471 h 546"/>
                <a:gd name="T76" fmla="*/ 622 w 631"/>
                <a:gd name="T77" fmla="*/ 388 h 546"/>
                <a:gd name="T78" fmla="*/ 631 w 631"/>
                <a:gd name="T79" fmla="*/ 266 h 546"/>
                <a:gd name="T80" fmla="*/ 81 w 631"/>
                <a:gd name="T81" fmla="*/ 220 h 546"/>
                <a:gd name="T82" fmla="*/ 159 w 631"/>
                <a:gd name="T83" fmla="*/ 169 h 546"/>
                <a:gd name="T84" fmla="*/ 106 w 631"/>
                <a:gd name="T85" fmla="*/ 221 h 546"/>
                <a:gd name="T86" fmla="*/ 243 w 631"/>
                <a:gd name="T87" fmla="*/ 231 h 546"/>
                <a:gd name="T88" fmla="*/ 414 w 631"/>
                <a:gd name="T89" fmla="*/ 167 h 546"/>
                <a:gd name="T90" fmla="*/ 385 w 631"/>
                <a:gd name="T91" fmla="*/ 138 h 546"/>
                <a:gd name="T92" fmla="*/ 403 w 631"/>
                <a:gd name="T93" fmla="*/ 177 h 546"/>
                <a:gd name="T94" fmla="*/ 298 w 631"/>
                <a:gd name="T95" fmla="*/ 154 h 546"/>
                <a:gd name="T96" fmla="*/ 248 w 631"/>
                <a:gd name="T97" fmla="*/ 229 h 546"/>
                <a:gd name="T98" fmla="*/ 345 w 631"/>
                <a:gd name="T99" fmla="*/ 97 h 546"/>
                <a:gd name="T100" fmla="*/ 354 w 631"/>
                <a:gd name="T101" fmla="*/ 78 h 546"/>
                <a:gd name="T102" fmla="*/ 424 w 631"/>
                <a:gd name="T103" fmla="*/ 60 h 546"/>
                <a:gd name="T104" fmla="*/ 450 w 631"/>
                <a:gd name="T105" fmla="*/ 189 h 546"/>
                <a:gd name="T106" fmla="*/ 533 w 631"/>
                <a:gd name="T107" fmla="*/ 172 h 546"/>
                <a:gd name="T108" fmla="*/ 526 w 631"/>
                <a:gd name="T109" fmla="*/ 303 h 546"/>
                <a:gd name="T110" fmla="*/ 571 w 631"/>
                <a:gd name="T111" fmla="*/ 295 h 546"/>
                <a:gd name="T112" fmla="*/ 574 w 631"/>
                <a:gd name="T113" fmla="*/ 307 h 546"/>
                <a:gd name="T114" fmla="*/ 612 w 631"/>
                <a:gd name="T115" fmla="*/ 377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1" h="546">
                  <a:moveTo>
                    <a:pt x="621" y="254"/>
                  </a:moveTo>
                  <a:cubicBezTo>
                    <a:pt x="623" y="220"/>
                    <a:pt x="623" y="220"/>
                    <a:pt x="623" y="220"/>
                  </a:cubicBezTo>
                  <a:cubicBezTo>
                    <a:pt x="627" y="219"/>
                    <a:pt x="631" y="215"/>
                    <a:pt x="631" y="210"/>
                  </a:cubicBezTo>
                  <a:cubicBezTo>
                    <a:pt x="631" y="205"/>
                    <a:pt x="627" y="200"/>
                    <a:pt x="621" y="200"/>
                  </a:cubicBezTo>
                  <a:cubicBezTo>
                    <a:pt x="616" y="200"/>
                    <a:pt x="612" y="205"/>
                    <a:pt x="612" y="210"/>
                  </a:cubicBezTo>
                  <a:cubicBezTo>
                    <a:pt x="612" y="215"/>
                    <a:pt x="615" y="218"/>
                    <a:pt x="619" y="219"/>
                  </a:cubicBezTo>
                  <a:cubicBezTo>
                    <a:pt x="617" y="254"/>
                    <a:pt x="617" y="254"/>
                    <a:pt x="617" y="254"/>
                  </a:cubicBezTo>
                  <a:cubicBezTo>
                    <a:pt x="616" y="254"/>
                    <a:pt x="616" y="254"/>
                    <a:pt x="615" y="254"/>
                  </a:cubicBezTo>
                  <a:cubicBezTo>
                    <a:pt x="537" y="169"/>
                    <a:pt x="537" y="169"/>
                    <a:pt x="537" y="169"/>
                  </a:cubicBezTo>
                  <a:cubicBezTo>
                    <a:pt x="540" y="167"/>
                    <a:pt x="541" y="163"/>
                    <a:pt x="541" y="159"/>
                  </a:cubicBezTo>
                  <a:cubicBezTo>
                    <a:pt x="541" y="150"/>
                    <a:pt x="534" y="143"/>
                    <a:pt x="526" y="143"/>
                  </a:cubicBezTo>
                  <a:cubicBezTo>
                    <a:pt x="517" y="143"/>
                    <a:pt x="510" y="150"/>
                    <a:pt x="510" y="159"/>
                  </a:cubicBezTo>
                  <a:cubicBezTo>
                    <a:pt x="510" y="159"/>
                    <a:pt x="510" y="160"/>
                    <a:pt x="511" y="161"/>
                  </a:cubicBezTo>
                  <a:cubicBezTo>
                    <a:pt x="447" y="178"/>
                    <a:pt x="447" y="178"/>
                    <a:pt x="447" y="178"/>
                  </a:cubicBezTo>
                  <a:cubicBezTo>
                    <a:pt x="446" y="174"/>
                    <a:pt x="443" y="171"/>
                    <a:pt x="439" y="169"/>
                  </a:cubicBezTo>
                  <a:cubicBezTo>
                    <a:pt x="440" y="78"/>
                    <a:pt x="440" y="78"/>
                    <a:pt x="440" y="78"/>
                  </a:cubicBezTo>
                  <a:cubicBezTo>
                    <a:pt x="440" y="78"/>
                    <a:pt x="441" y="78"/>
                    <a:pt x="441" y="78"/>
                  </a:cubicBezTo>
                  <a:cubicBezTo>
                    <a:pt x="447" y="78"/>
                    <a:pt x="452" y="75"/>
                    <a:pt x="456" y="70"/>
                  </a:cubicBezTo>
                  <a:cubicBezTo>
                    <a:pt x="574" y="132"/>
                    <a:pt x="574" y="132"/>
                    <a:pt x="574" y="132"/>
                  </a:cubicBezTo>
                  <a:cubicBezTo>
                    <a:pt x="574" y="132"/>
                    <a:pt x="574" y="133"/>
                    <a:pt x="574" y="134"/>
                  </a:cubicBezTo>
                  <a:cubicBezTo>
                    <a:pt x="574" y="139"/>
                    <a:pt x="578" y="143"/>
                    <a:pt x="583" y="143"/>
                  </a:cubicBezTo>
                  <a:cubicBezTo>
                    <a:pt x="588" y="143"/>
                    <a:pt x="593" y="139"/>
                    <a:pt x="593" y="134"/>
                  </a:cubicBezTo>
                  <a:cubicBezTo>
                    <a:pt x="593" y="129"/>
                    <a:pt x="588" y="125"/>
                    <a:pt x="583" y="125"/>
                  </a:cubicBezTo>
                  <a:cubicBezTo>
                    <a:pt x="581" y="125"/>
                    <a:pt x="578" y="126"/>
                    <a:pt x="576" y="128"/>
                  </a:cubicBezTo>
                  <a:cubicBezTo>
                    <a:pt x="458" y="66"/>
                    <a:pt x="458" y="66"/>
                    <a:pt x="458" y="66"/>
                  </a:cubicBezTo>
                  <a:cubicBezTo>
                    <a:pt x="458" y="64"/>
                    <a:pt x="459" y="62"/>
                    <a:pt x="459" y="60"/>
                  </a:cubicBezTo>
                  <a:cubicBezTo>
                    <a:pt x="459" y="51"/>
                    <a:pt x="451" y="43"/>
                    <a:pt x="441" y="43"/>
                  </a:cubicBezTo>
                  <a:cubicBezTo>
                    <a:pt x="434" y="43"/>
                    <a:pt x="428" y="47"/>
                    <a:pt x="426" y="53"/>
                  </a:cubicBezTo>
                  <a:cubicBezTo>
                    <a:pt x="358" y="25"/>
                    <a:pt x="358" y="25"/>
                    <a:pt x="358" y="25"/>
                  </a:cubicBezTo>
                  <a:cubicBezTo>
                    <a:pt x="359" y="23"/>
                    <a:pt x="360" y="21"/>
                    <a:pt x="360" y="18"/>
                  </a:cubicBezTo>
                  <a:cubicBezTo>
                    <a:pt x="360" y="8"/>
                    <a:pt x="352" y="0"/>
                    <a:pt x="342" y="0"/>
                  </a:cubicBezTo>
                  <a:cubicBezTo>
                    <a:pt x="332" y="0"/>
                    <a:pt x="324" y="8"/>
                    <a:pt x="324" y="18"/>
                  </a:cubicBezTo>
                  <a:cubicBezTo>
                    <a:pt x="324" y="26"/>
                    <a:pt x="330" y="33"/>
                    <a:pt x="338" y="35"/>
                  </a:cubicBezTo>
                  <a:cubicBezTo>
                    <a:pt x="350" y="79"/>
                    <a:pt x="350" y="79"/>
                    <a:pt x="350" y="79"/>
                  </a:cubicBezTo>
                  <a:cubicBezTo>
                    <a:pt x="348" y="80"/>
                    <a:pt x="346" y="81"/>
                    <a:pt x="345" y="8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52"/>
                    <a:pt x="249" y="43"/>
                    <a:pt x="238" y="43"/>
                  </a:cubicBezTo>
                  <a:cubicBezTo>
                    <a:pt x="227" y="43"/>
                    <a:pt x="218" y="52"/>
                    <a:pt x="218" y="63"/>
                  </a:cubicBezTo>
                  <a:cubicBezTo>
                    <a:pt x="218" y="65"/>
                    <a:pt x="218" y="67"/>
                    <a:pt x="219" y="69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100" y="118"/>
                    <a:pt x="98" y="117"/>
                    <a:pt x="96" y="116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3" y="70"/>
                    <a:pt x="134" y="70"/>
                    <a:pt x="135" y="70"/>
                  </a:cubicBezTo>
                  <a:cubicBezTo>
                    <a:pt x="139" y="70"/>
                    <a:pt x="142" y="67"/>
                    <a:pt x="142" y="62"/>
                  </a:cubicBezTo>
                  <a:cubicBezTo>
                    <a:pt x="142" y="58"/>
                    <a:pt x="139" y="55"/>
                    <a:pt x="135" y="55"/>
                  </a:cubicBezTo>
                  <a:cubicBezTo>
                    <a:pt x="130" y="55"/>
                    <a:pt x="127" y="58"/>
                    <a:pt x="127" y="62"/>
                  </a:cubicBezTo>
                  <a:cubicBezTo>
                    <a:pt x="127" y="64"/>
                    <a:pt x="128" y="66"/>
                    <a:pt x="129" y="67"/>
                  </a:cubicBezTo>
                  <a:cubicBezTo>
                    <a:pt x="91" y="116"/>
                    <a:pt x="91" y="116"/>
                    <a:pt x="91" y="116"/>
                  </a:cubicBezTo>
                  <a:cubicBezTo>
                    <a:pt x="86" y="116"/>
                    <a:pt x="83" y="121"/>
                    <a:pt x="83" y="126"/>
                  </a:cubicBezTo>
                  <a:cubicBezTo>
                    <a:pt x="83" y="131"/>
                    <a:pt x="87" y="136"/>
                    <a:pt x="93" y="136"/>
                  </a:cubicBezTo>
                  <a:cubicBezTo>
                    <a:pt x="99" y="136"/>
                    <a:pt x="103" y="131"/>
                    <a:pt x="103" y="126"/>
                  </a:cubicBezTo>
                  <a:cubicBezTo>
                    <a:pt x="103" y="125"/>
                    <a:pt x="103" y="124"/>
                    <a:pt x="103" y="124"/>
                  </a:cubicBezTo>
                  <a:cubicBezTo>
                    <a:pt x="221" y="73"/>
                    <a:pt x="221" y="73"/>
                    <a:pt x="221" y="73"/>
                  </a:cubicBezTo>
                  <a:cubicBezTo>
                    <a:pt x="224" y="79"/>
                    <a:pt x="230" y="83"/>
                    <a:pt x="238" y="83"/>
                  </a:cubicBezTo>
                  <a:cubicBezTo>
                    <a:pt x="246" y="83"/>
                    <a:pt x="252" y="78"/>
                    <a:pt x="256" y="71"/>
                  </a:cubicBezTo>
                  <a:cubicBezTo>
                    <a:pt x="343" y="92"/>
                    <a:pt x="343" y="92"/>
                    <a:pt x="343" y="92"/>
                  </a:cubicBezTo>
                  <a:cubicBezTo>
                    <a:pt x="343" y="92"/>
                    <a:pt x="343" y="92"/>
                    <a:pt x="343" y="93"/>
                  </a:cubicBezTo>
                  <a:cubicBezTo>
                    <a:pt x="197" y="152"/>
                    <a:pt x="197" y="152"/>
                    <a:pt x="197" y="152"/>
                  </a:cubicBezTo>
                  <a:cubicBezTo>
                    <a:pt x="193" y="147"/>
                    <a:pt x="187" y="143"/>
                    <a:pt x="179" y="143"/>
                  </a:cubicBezTo>
                  <a:cubicBezTo>
                    <a:pt x="169" y="143"/>
                    <a:pt x="160" y="152"/>
                    <a:pt x="159" y="162"/>
                  </a:cubicBezTo>
                  <a:cubicBezTo>
                    <a:pt x="62" y="177"/>
                    <a:pt x="62" y="177"/>
                    <a:pt x="62" y="177"/>
                  </a:cubicBezTo>
                  <a:cubicBezTo>
                    <a:pt x="61" y="174"/>
                    <a:pt x="58" y="171"/>
                    <a:pt x="54" y="171"/>
                  </a:cubicBezTo>
                  <a:cubicBezTo>
                    <a:pt x="49" y="171"/>
                    <a:pt x="45" y="175"/>
                    <a:pt x="45" y="180"/>
                  </a:cubicBezTo>
                  <a:cubicBezTo>
                    <a:pt x="45" y="185"/>
                    <a:pt x="49" y="189"/>
                    <a:pt x="54" y="189"/>
                  </a:cubicBezTo>
                  <a:cubicBezTo>
                    <a:pt x="55" y="189"/>
                    <a:pt x="56" y="189"/>
                    <a:pt x="57" y="189"/>
                  </a:cubicBezTo>
                  <a:cubicBezTo>
                    <a:pt x="79" y="224"/>
                    <a:pt x="79" y="224"/>
                    <a:pt x="79" y="224"/>
                  </a:cubicBezTo>
                  <a:cubicBezTo>
                    <a:pt x="78" y="226"/>
                    <a:pt x="77" y="228"/>
                    <a:pt x="77" y="230"/>
                  </a:cubicBezTo>
                  <a:cubicBezTo>
                    <a:pt x="77" y="236"/>
                    <a:pt x="80" y="241"/>
                    <a:pt x="85" y="243"/>
                  </a:cubicBezTo>
                  <a:cubicBezTo>
                    <a:pt x="56" y="314"/>
                    <a:pt x="56" y="314"/>
                    <a:pt x="56" y="314"/>
                  </a:cubicBezTo>
                  <a:cubicBezTo>
                    <a:pt x="54" y="313"/>
                    <a:pt x="51" y="312"/>
                    <a:pt x="49" y="312"/>
                  </a:cubicBezTo>
                  <a:cubicBezTo>
                    <a:pt x="46" y="312"/>
                    <a:pt x="43" y="312"/>
                    <a:pt x="41" y="313"/>
                  </a:cubicBezTo>
                  <a:cubicBezTo>
                    <a:pt x="20" y="275"/>
                    <a:pt x="20" y="275"/>
                    <a:pt x="20" y="275"/>
                  </a:cubicBezTo>
                  <a:cubicBezTo>
                    <a:pt x="22" y="273"/>
                    <a:pt x="24" y="269"/>
                    <a:pt x="24" y="266"/>
                  </a:cubicBezTo>
                  <a:cubicBezTo>
                    <a:pt x="24" y="259"/>
                    <a:pt x="19" y="254"/>
                    <a:pt x="12" y="254"/>
                  </a:cubicBezTo>
                  <a:cubicBezTo>
                    <a:pt x="6" y="254"/>
                    <a:pt x="0" y="259"/>
                    <a:pt x="0" y="266"/>
                  </a:cubicBezTo>
                  <a:cubicBezTo>
                    <a:pt x="0" y="272"/>
                    <a:pt x="6" y="277"/>
                    <a:pt x="12" y="277"/>
                  </a:cubicBezTo>
                  <a:cubicBezTo>
                    <a:pt x="13" y="277"/>
                    <a:pt x="15" y="277"/>
                    <a:pt x="16" y="277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2" y="319"/>
                    <a:pt x="29" y="325"/>
                    <a:pt x="29" y="332"/>
                  </a:cubicBezTo>
                  <a:cubicBezTo>
                    <a:pt x="29" y="342"/>
                    <a:pt x="38" y="351"/>
                    <a:pt x="49" y="351"/>
                  </a:cubicBezTo>
                  <a:cubicBezTo>
                    <a:pt x="59" y="351"/>
                    <a:pt x="68" y="342"/>
                    <a:pt x="68" y="332"/>
                  </a:cubicBezTo>
                  <a:cubicBezTo>
                    <a:pt x="68" y="325"/>
                    <a:pt x="65" y="319"/>
                    <a:pt x="60" y="316"/>
                  </a:cubicBezTo>
                  <a:cubicBezTo>
                    <a:pt x="89" y="245"/>
                    <a:pt x="89" y="245"/>
                    <a:pt x="89" y="245"/>
                  </a:cubicBezTo>
                  <a:cubicBezTo>
                    <a:pt x="90" y="245"/>
                    <a:pt x="92" y="246"/>
                    <a:pt x="93" y="246"/>
                  </a:cubicBezTo>
                  <a:cubicBezTo>
                    <a:pt x="100" y="246"/>
                    <a:pt x="105" y="241"/>
                    <a:pt x="107" y="235"/>
                  </a:cubicBezTo>
                  <a:cubicBezTo>
                    <a:pt x="237" y="245"/>
                    <a:pt x="237" y="245"/>
                    <a:pt x="237" y="245"/>
                  </a:cubicBezTo>
                  <a:cubicBezTo>
                    <a:pt x="160" y="277"/>
                    <a:pt x="160" y="277"/>
                    <a:pt x="160" y="277"/>
                  </a:cubicBezTo>
                  <a:cubicBezTo>
                    <a:pt x="158" y="274"/>
                    <a:pt x="154" y="272"/>
                    <a:pt x="150" y="272"/>
                  </a:cubicBezTo>
                  <a:cubicBezTo>
                    <a:pt x="144" y="272"/>
                    <a:pt x="139" y="277"/>
                    <a:pt x="139" y="283"/>
                  </a:cubicBezTo>
                  <a:cubicBezTo>
                    <a:pt x="139" y="289"/>
                    <a:pt x="144" y="294"/>
                    <a:pt x="150" y="294"/>
                  </a:cubicBezTo>
                  <a:cubicBezTo>
                    <a:pt x="157" y="294"/>
                    <a:pt x="162" y="289"/>
                    <a:pt x="162" y="283"/>
                  </a:cubicBezTo>
                  <a:cubicBezTo>
                    <a:pt x="162" y="282"/>
                    <a:pt x="162" y="281"/>
                    <a:pt x="161" y="281"/>
                  </a:cubicBezTo>
                  <a:cubicBezTo>
                    <a:pt x="240" y="248"/>
                    <a:pt x="240" y="248"/>
                    <a:pt x="240" y="248"/>
                  </a:cubicBezTo>
                  <a:cubicBezTo>
                    <a:pt x="242" y="251"/>
                    <a:pt x="246" y="254"/>
                    <a:pt x="250" y="254"/>
                  </a:cubicBezTo>
                  <a:cubicBezTo>
                    <a:pt x="257" y="254"/>
                    <a:pt x="263" y="248"/>
                    <a:pt x="263" y="241"/>
                  </a:cubicBezTo>
                  <a:cubicBezTo>
                    <a:pt x="263" y="240"/>
                    <a:pt x="263" y="240"/>
                    <a:pt x="263" y="239"/>
                  </a:cubicBezTo>
                  <a:cubicBezTo>
                    <a:pt x="311" y="171"/>
                    <a:pt x="311" y="171"/>
                    <a:pt x="311" y="171"/>
                  </a:cubicBezTo>
                  <a:cubicBezTo>
                    <a:pt x="312" y="171"/>
                    <a:pt x="314" y="171"/>
                    <a:pt x="316" y="171"/>
                  </a:cubicBezTo>
                  <a:cubicBezTo>
                    <a:pt x="323" y="171"/>
                    <a:pt x="330" y="166"/>
                    <a:pt x="332" y="160"/>
                  </a:cubicBezTo>
                  <a:cubicBezTo>
                    <a:pt x="401" y="181"/>
                    <a:pt x="401" y="181"/>
                    <a:pt x="401" y="181"/>
                  </a:cubicBezTo>
                  <a:cubicBezTo>
                    <a:pt x="400" y="184"/>
                    <a:pt x="400" y="187"/>
                    <a:pt x="400" y="189"/>
                  </a:cubicBezTo>
                  <a:cubicBezTo>
                    <a:pt x="400" y="203"/>
                    <a:pt x="411" y="214"/>
                    <a:pt x="425" y="214"/>
                  </a:cubicBezTo>
                  <a:cubicBezTo>
                    <a:pt x="434" y="214"/>
                    <a:pt x="442" y="209"/>
                    <a:pt x="447" y="202"/>
                  </a:cubicBezTo>
                  <a:cubicBezTo>
                    <a:pt x="607" y="262"/>
                    <a:pt x="607" y="262"/>
                    <a:pt x="607" y="262"/>
                  </a:cubicBezTo>
                  <a:cubicBezTo>
                    <a:pt x="606" y="263"/>
                    <a:pt x="606" y="265"/>
                    <a:pt x="606" y="266"/>
                  </a:cubicBezTo>
                  <a:cubicBezTo>
                    <a:pt x="606" y="267"/>
                    <a:pt x="606" y="267"/>
                    <a:pt x="606" y="268"/>
                  </a:cubicBezTo>
                  <a:cubicBezTo>
                    <a:pt x="392" y="282"/>
                    <a:pt x="392" y="282"/>
                    <a:pt x="392" y="282"/>
                  </a:cubicBezTo>
                  <a:cubicBezTo>
                    <a:pt x="390" y="276"/>
                    <a:pt x="385" y="272"/>
                    <a:pt x="378" y="272"/>
                  </a:cubicBezTo>
                  <a:cubicBezTo>
                    <a:pt x="377" y="272"/>
                    <a:pt x="375" y="272"/>
                    <a:pt x="374" y="272"/>
                  </a:cubicBezTo>
                  <a:cubicBezTo>
                    <a:pt x="345" y="235"/>
                    <a:pt x="345" y="235"/>
                    <a:pt x="345" y="235"/>
                  </a:cubicBezTo>
                  <a:cubicBezTo>
                    <a:pt x="350" y="233"/>
                    <a:pt x="353" y="228"/>
                    <a:pt x="353" y="223"/>
                  </a:cubicBezTo>
                  <a:cubicBezTo>
                    <a:pt x="353" y="215"/>
                    <a:pt x="346" y="208"/>
                    <a:pt x="338" y="208"/>
                  </a:cubicBezTo>
                  <a:cubicBezTo>
                    <a:pt x="331" y="208"/>
                    <a:pt x="324" y="215"/>
                    <a:pt x="324" y="223"/>
                  </a:cubicBezTo>
                  <a:cubicBezTo>
                    <a:pt x="324" y="229"/>
                    <a:pt x="329" y="235"/>
                    <a:pt x="335" y="236"/>
                  </a:cubicBezTo>
                  <a:cubicBezTo>
                    <a:pt x="367" y="278"/>
                    <a:pt x="367" y="278"/>
                    <a:pt x="367" y="278"/>
                  </a:cubicBezTo>
                  <a:cubicBezTo>
                    <a:pt x="366" y="280"/>
                    <a:pt x="365" y="282"/>
                    <a:pt x="365" y="285"/>
                  </a:cubicBezTo>
                  <a:cubicBezTo>
                    <a:pt x="365" y="293"/>
                    <a:pt x="371" y="299"/>
                    <a:pt x="378" y="299"/>
                  </a:cubicBezTo>
                  <a:cubicBezTo>
                    <a:pt x="383" y="299"/>
                    <a:pt x="388" y="296"/>
                    <a:pt x="390" y="292"/>
                  </a:cubicBezTo>
                  <a:cubicBezTo>
                    <a:pt x="526" y="307"/>
                    <a:pt x="526" y="307"/>
                    <a:pt x="526" y="307"/>
                  </a:cubicBezTo>
                  <a:cubicBezTo>
                    <a:pt x="526" y="308"/>
                    <a:pt x="526" y="309"/>
                    <a:pt x="526" y="310"/>
                  </a:cubicBezTo>
                  <a:cubicBezTo>
                    <a:pt x="458" y="344"/>
                    <a:pt x="458" y="344"/>
                    <a:pt x="458" y="344"/>
                  </a:cubicBezTo>
                  <a:cubicBezTo>
                    <a:pt x="456" y="340"/>
                    <a:pt x="452" y="337"/>
                    <a:pt x="447" y="337"/>
                  </a:cubicBezTo>
                  <a:cubicBezTo>
                    <a:pt x="440" y="337"/>
                    <a:pt x="435" y="342"/>
                    <a:pt x="435" y="349"/>
                  </a:cubicBezTo>
                  <a:cubicBezTo>
                    <a:pt x="435" y="355"/>
                    <a:pt x="440" y="361"/>
                    <a:pt x="447" y="361"/>
                  </a:cubicBezTo>
                  <a:cubicBezTo>
                    <a:pt x="453" y="361"/>
                    <a:pt x="459" y="355"/>
                    <a:pt x="459" y="349"/>
                  </a:cubicBezTo>
                  <a:cubicBezTo>
                    <a:pt x="459" y="349"/>
                    <a:pt x="459" y="349"/>
                    <a:pt x="459" y="348"/>
                  </a:cubicBezTo>
                  <a:cubicBezTo>
                    <a:pt x="527" y="314"/>
                    <a:pt x="527" y="314"/>
                    <a:pt x="527" y="314"/>
                  </a:cubicBezTo>
                  <a:cubicBezTo>
                    <a:pt x="530" y="324"/>
                    <a:pt x="539" y="331"/>
                    <a:pt x="550" y="331"/>
                  </a:cubicBezTo>
                  <a:cubicBezTo>
                    <a:pt x="556" y="331"/>
                    <a:pt x="561" y="329"/>
                    <a:pt x="566" y="325"/>
                  </a:cubicBezTo>
                  <a:cubicBezTo>
                    <a:pt x="607" y="385"/>
                    <a:pt x="607" y="385"/>
                    <a:pt x="607" y="385"/>
                  </a:cubicBezTo>
                  <a:cubicBezTo>
                    <a:pt x="606" y="386"/>
                    <a:pt x="606" y="387"/>
                    <a:pt x="606" y="388"/>
                  </a:cubicBezTo>
                  <a:cubicBezTo>
                    <a:pt x="606" y="390"/>
                    <a:pt x="607" y="392"/>
                    <a:pt x="609" y="394"/>
                  </a:cubicBezTo>
                  <a:cubicBezTo>
                    <a:pt x="576" y="456"/>
                    <a:pt x="576" y="456"/>
                    <a:pt x="576" y="456"/>
                  </a:cubicBezTo>
                  <a:cubicBezTo>
                    <a:pt x="574" y="455"/>
                    <a:pt x="571" y="454"/>
                    <a:pt x="567" y="454"/>
                  </a:cubicBezTo>
                  <a:cubicBezTo>
                    <a:pt x="564" y="454"/>
                    <a:pt x="561" y="455"/>
                    <a:pt x="558" y="457"/>
                  </a:cubicBezTo>
                  <a:cubicBezTo>
                    <a:pt x="522" y="393"/>
                    <a:pt x="522" y="393"/>
                    <a:pt x="522" y="393"/>
                  </a:cubicBezTo>
                  <a:cubicBezTo>
                    <a:pt x="524" y="391"/>
                    <a:pt x="526" y="388"/>
                    <a:pt x="526" y="385"/>
                  </a:cubicBezTo>
                  <a:cubicBezTo>
                    <a:pt x="526" y="379"/>
                    <a:pt x="521" y="374"/>
                    <a:pt x="515" y="374"/>
                  </a:cubicBezTo>
                  <a:cubicBezTo>
                    <a:pt x="508" y="374"/>
                    <a:pt x="503" y="379"/>
                    <a:pt x="503" y="385"/>
                  </a:cubicBezTo>
                  <a:cubicBezTo>
                    <a:pt x="503" y="391"/>
                    <a:pt x="508" y="396"/>
                    <a:pt x="513" y="396"/>
                  </a:cubicBezTo>
                  <a:cubicBezTo>
                    <a:pt x="528" y="528"/>
                    <a:pt x="528" y="528"/>
                    <a:pt x="528" y="528"/>
                  </a:cubicBezTo>
                  <a:cubicBezTo>
                    <a:pt x="525" y="529"/>
                    <a:pt x="522" y="533"/>
                    <a:pt x="522" y="537"/>
                  </a:cubicBezTo>
                  <a:cubicBezTo>
                    <a:pt x="522" y="542"/>
                    <a:pt x="526" y="546"/>
                    <a:pt x="532" y="546"/>
                  </a:cubicBezTo>
                  <a:cubicBezTo>
                    <a:pt x="537" y="546"/>
                    <a:pt x="541" y="542"/>
                    <a:pt x="541" y="537"/>
                  </a:cubicBezTo>
                  <a:cubicBezTo>
                    <a:pt x="541" y="532"/>
                    <a:pt x="538" y="528"/>
                    <a:pt x="533" y="528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52" y="463"/>
                    <a:pt x="550" y="467"/>
                    <a:pt x="550" y="471"/>
                  </a:cubicBezTo>
                  <a:cubicBezTo>
                    <a:pt x="550" y="481"/>
                    <a:pt x="558" y="489"/>
                    <a:pt x="567" y="489"/>
                  </a:cubicBezTo>
                  <a:cubicBezTo>
                    <a:pt x="577" y="489"/>
                    <a:pt x="585" y="481"/>
                    <a:pt x="585" y="471"/>
                  </a:cubicBezTo>
                  <a:cubicBezTo>
                    <a:pt x="585" y="466"/>
                    <a:pt x="583" y="462"/>
                    <a:pt x="580" y="459"/>
                  </a:cubicBezTo>
                  <a:cubicBezTo>
                    <a:pt x="612" y="396"/>
                    <a:pt x="612" y="396"/>
                    <a:pt x="612" y="396"/>
                  </a:cubicBezTo>
                  <a:cubicBezTo>
                    <a:pt x="613" y="396"/>
                    <a:pt x="614" y="396"/>
                    <a:pt x="614" y="396"/>
                  </a:cubicBezTo>
                  <a:cubicBezTo>
                    <a:pt x="619" y="396"/>
                    <a:pt x="622" y="393"/>
                    <a:pt x="622" y="388"/>
                  </a:cubicBezTo>
                  <a:cubicBezTo>
                    <a:pt x="622" y="384"/>
                    <a:pt x="620" y="381"/>
                    <a:pt x="616" y="380"/>
                  </a:cubicBezTo>
                  <a:cubicBezTo>
                    <a:pt x="616" y="279"/>
                    <a:pt x="616" y="279"/>
                    <a:pt x="616" y="279"/>
                  </a:cubicBezTo>
                  <a:cubicBezTo>
                    <a:pt x="617" y="279"/>
                    <a:pt x="618" y="279"/>
                    <a:pt x="618" y="279"/>
                  </a:cubicBezTo>
                  <a:cubicBezTo>
                    <a:pt x="625" y="279"/>
                    <a:pt x="631" y="273"/>
                    <a:pt x="631" y="266"/>
                  </a:cubicBezTo>
                  <a:cubicBezTo>
                    <a:pt x="631" y="260"/>
                    <a:pt x="627" y="255"/>
                    <a:pt x="621" y="254"/>
                  </a:cubicBezTo>
                  <a:close/>
                  <a:moveTo>
                    <a:pt x="103" y="218"/>
                  </a:moveTo>
                  <a:cubicBezTo>
                    <a:pt x="100" y="216"/>
                    <a:pt x="97" y="214"/>
                    <a:pt x="93" y="214"/>
                  </a:cubicBezTo>
                  <a:cubicBezTo>
                    <a:pt x="88" y="214"/>
                    <a:pt x="84" y="216"/>
                    <a:pt x="81" y="220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2" y="185"/>
                    <a:pt x="62" y="183"/>
                    <a:pt x="63" y="181"/>
                  </a:cubicBezTo>
                  <a:cubicBezTo>
                    <a:pt x="159" y="167"/>
                    <a:pt x="159" y="167"/>
                    <a:pt x="159" y="167"/>
                  </a:cubicBezTo>
                  <a:cubicBezTo>
                    <a:pt x="159" y="167"/>
                    <a:pt x="159" y="168"/>
                    <a:pt x="159" y="169"/>
                  </a:cubicBezTo>
                  <a:lnTo>
                    <a:pt x="103" y="218"/>
                  </a:lnTo>
                  <a:close/>
                  <a:moveTo>
                    <a:pt x="239" y="236"/>
                  </a:moveTo>
                  <a:cubicBezTo>
                    <a:pt x="108" y="227"/>
                    <a:pt x="108" y="227"/>
                    <a:pt x="108" y="227"/>
                  </a:cubicBezTo>
                  <a:cubicBezTo>
                    <a:pt x="108" y="225"/>
                    <a:pt x="107" y="223"/>
                    <a:pt x="106" y="221"/>
                  </a:cubicBezTo>
                  <a:cubicBezTo>
                    <a:pt x="160" y="173"/>
                    <a:pt x="160" y="173"/>
                    <a:pt x="160" y="173"/>
                  </a:cubicBezTo>
                  <a:cubicBezTo>
                    <a:pt x="164" y="180"/>
                    <a:pt x="171" y="185"/>
                    <a:pt x="179" y="185"/>
                  </a:cubicBezTo>
                  <a:cubicBezTo>
                    <a:pt x="184" y="185"/>
                    <a:pt x="189" y="184"/>
                    <a:pt x="193" y="181"/>
                  </a:cubicBezTo>
                  <a:cubicBezTo>
                    <a:pt x="243" y="231"/>
                    <a:pt x="243" y="231"/>
                    <a:pt x="243" y="231"/>
                  </a:cubicBezTo>
                  <a:cubicBezTo>
                    <a:pt x="241" y="232"/>
                    <a:pt x="240" y="234"/>
                    <a:pt x="239" y="236"/>
                  </a:cubicBezTo>
                  <a:close/>
                  <a:moveTo>
                    <a:pt x="431" y="165"/>
                  </a:moveTo>
                  <a:cubicBezTo>
                    <a:pt x="429" y="165"/>
                    <a:pt x="427" y="164"/>
                    <a:pt x="425" y="164"/>
                  </a:cubicBezTo>
                  <a:cubicBezTo>
                    <a:pt x="421" y="164"/>
                    <a:pt x="417" y="165"/>
                    <a:pt x="414" y="167"/>
                  </a:cubicBezTo>
                  <a:cubicBezTo>
                    <a:pt x="400" y="144"/>
                    <a:pt x="400" y="144"/>
                    <a:pt x="400" y="144"/>
                  </a:cubicBezTo>
                  <a:cubicBezTo>
                    <a:pt x="402" y="142"/>
                    <a:pt x="403" y="140"/>
                    <a:pt x="403" y="138"/>
                  </a:cubicBezTo>
                  <a:cubicBezTo>
                    <a:pt x="403" y="133"/>
                    <a:pt x="399" y="129"/>
                    <a:pt x="394" y="129"/>
                  </a:cubicBezTo>
                  <a:cubicBezTo>
                    <a:pt x="389" y="129"/>
                    <a:pt x="385" y="133"/>
                    <a:pt x="385" y="138"/>
                  </a:cubicBezTo>
                  <a:cubicBezTo>
                    <a:pt x="385" y="142"/>
                    <a:pt x="389" y="146"/>
                    <a:pt x="394" y="146"/>
                  </a:cubicBezTo>
                  <a:cubicBezTo>
                    <a:pt x="395" y="146"/>
                    <a:pt x="396" y="146"/>
                    <a:pt x="397" y="146"/>
                  </a:cubicBezTo>
                  <a:cubicBezTo>
                    <a:pt x="410" y="169"/>
                    <a:pt x="410" y="169"/>
                    <a:pt x="410" y="169"/>
                  </a:cubicBezTo>
                  <a:cubicBezTo>
                    <a:pt x="407" y="171"/>
                    <a:pt x="405" y="174"/>
                    <a:pt x="403" y="177"/>
                  </a:cubicBezTo>
                  <a:cubicBezTo>
                    <a:pt x="333" y="155"/>
                    <a:pt x="333" y="155"/>
                    <a:pt x="333" y="155"/>
                  </a:cubicBezTo>
                  <a:cubicBezTo>
                    <a:pt x="333" y="155"/>
                    <a:pt x="333" y="154"/>
                    <a:pt x="333" y="154"/>
                  </a:cubicBezTo>
                  <a:cubicBezTo>
                    <a:pt x="333" y="144"/>
                    <a:pt x="325" y="136"/>
                    <a:pt x="316" y="136"/>
                  </a:cubicBezTo>
                  <a:cubicBezTo>
                    <a:pt x="306" y="136"/>
                    <a:pt x="298" y="144"/>
                    <a:pt x="298" y="154"/>
                  </a:cubicBezTo>
                  <a:cubicBezTo>
                    <a:pt x="298" y="160"/>
                    <a:pt x="301" y="166"/>
                    <a:pt x="307" y="169"/>
                  </a:cubicBezTo>
                  <a:cubicBezTo>
                    <a:pt x="261" y="234"/>
                    <a:pt x="261" y="234"/>
                    <a:pt x="261" y="234"/>
                  </a:cubicBezTo>
                  <a:cubicBezTo>
                    <a:pt x="258" y="231"/>
                    <a:pt x="255" y="229"/>
                    <a:pt x="250" y="229"/>
                  </a:cubicBezTo>
                  <a:cubicBezTo>
                    <a:pt x="249" y="229"/>
                    <a:pt x="248" y="229"/>
                    <a:pt x="248" y="229"/>
                  </a:cubicBezTo>
                  <a:cubicBezTo>
                    <a:pt x="196" y="178"/>
                    <a:pt x="196" y="178"/>
                    <a:pt x="196" y="178"/>
                  </a:cubicBezTo>
                  <a:cubicBezTo>
                    <a:pt x="199" y="174"/>
                    <a:pt x="200" y="169"/>
                    <a:pt x="200" y="164"/>
                  </a:cubicBezTo>
                  <a:cubicBezTo>
                    <a:pt x="200" y="161"/>
                    <a:pt x="200" y="159"/>
                    <a:pt x="199" y="156"/>
                  </a:cubicBezTo>
                  <a:cubicBezTo>
                    <a:pt x="345" y="97"/>
                    <a:pt x="345" y="97"/>
                    <a:pt x="345" y="97"/>
                  </a:cubicBezTo>
                  <a:cubicBezTo>
                    <a:pt x="347" y="100"/>
                    <a:pt x="351" y="102"/>
                    <a:pt x="355" y="102"/>
                  </a:cubicBezTo>
                  <a:cubicBezTo>
                    <a:pt x="362" y="102"/>
                    <a:pt x="368" y="97"/>
                    <a:pt x="368" y="90"/>
                  </a:cubicBezTo>
                  <a:cubicBezTo>
                    <a:pt x="368" y="83"/>
                    <a:pt x="362" y="78"/>
                    <a:pt x="355" y="78"/>
                  </a:cubicBezTo>
                  <a:cubicBezTo>
                    <a:pt x="355" y="78"/>
                    <a:pt x="355" y="78"/>
                    <a:pt x="354" y="78"/>
                  </a:cubicBezTo>
                  <a:cubicBezTo>
                    <a:pt x="342" y="36"/>
                    <a:pt x="342" y="36"/>
                    <a:pt x="342" y="36"/>
                  </a:cubicBezTo>
                  <a:cubicBezTo>
                    <a:pt x="348" y="36"/>
                    <a:pt x="353" y="33"/>
                    <a:pt x="356" y="29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58"/>
                    <a:pt x="424" y="59"/>
                    <a:pt x="424" y="60"/>
                  </a:cubicBezTo>
                  <a:cubicBezTo>
                    <a:pt x="424" y="66"/>
                    <a:pt x="427" y="71"/>
                    <a:pt x="431" y="75"/>
                  </a:cubicBezTo>
                  <a:lnTo>
                    <a:pt x="431" y="165"/>
                  </a:lnTo>
                  <a:close/>
                  <a:moveTo>
                    <a:pt x="450" y="194"/>
                  </a:moveTo>
                  <a:cubicBezTo>
                    <a:pt x="450" y="192"/>
                    <a:pt x="450" y="191"/>
                    <a:pt x="450" y="189"/>
                  </a:cubicBezTo>
                  <a:cubicBezTo>
                    <a:pt x="450" y="187"/>
                    <a:pt x="450" y="185"/>
                    <a:pt x="449" y="182"/>
                  </a:cubicBezTo>
                  <a:cubicBezTo>
                    <a:pt x="512" y="165"/>
                    <a:pt x="512" y="165"/>
                    <a:pt x="512" y="165"/>
                  </a:cubicBezTo>
                  <a:cubicBezTo>
                    <a:pt x="514" y="170"/>
                    <a:pt x="519" y="174"/>
                    <a:pt x="526" y="174"/>
                  </a:cubicBezTo>
                  <a:cubicBezTo>
                    <a:pt x="529" y="174"/>
                    <a:pt x="531" y="173"/>
                    <a:pt x="533" y="172"/>
                  </a:cubicBezTo>
                  <a:cubicBezTo>
                    <a:pt x="608" y="253"/>
                    <a:pt x="608" y="253"/>
                    <a:pt x="608" y="253"/>
                  </a:cubicBezTo>
                  <a:lnTo>
                    <a:pt x="450" y="194"/>
                  </a:lnTo>
                  <a:close/>
                  <a:moveTo>
                    <a:pt x="550" y="283"/>
                  </a:moveTo>
                  <a:cubicBezTo>
                    <a:pt x="538" y="283"/>
                    <a:pt x="528" y="291"/>
                    <a:pt x="526" y="303"/>
                  </a:cubicBezTo>
                  <a:cubicBezTo>
                    <a:pt x="392" y="288"/>
                    <a:pt x="392" y="288"/>
                    <a:pt x="392" y="288"/>
                  </a:cubicBezTo>
                  <a:cubicBezTo>
                    <a:pt x="392" y="287"/>
                    <a:pt x="392" y="287"/>
                    <a:pt x="392" y="287"/>
                  </a:cubicBezTo>
                  <a:cubicBezTo>
                    <a:pt x="605" y="272"/>
                    <a:pt x="605" y="272"/>
                    <a:pt x="605" y="272"/>
                  </a:cubicBezTo>
                  <a:cubicBezTo>
                    <a:pt x="571" y="295"/>
                    <a:pt x="571" y="295"/>
                    <a:pt x="571" y="295"/>
                  </a:cubicBezTo>
                  <a:cubicBezTo>
                    <a:pt x="567" y="288"/>
                    <a:pt x="559" y="283"/>
                    <a:pt x="550" y="283"/>
                  </a:cubicBezTo>
                  <a:close/>
                  <a:moveTo>
                    <a:pt x="612" y="377"/>
                  </a:moveTo>
                  <a:cubicBezTo>
                    <a:pt x="571" y="318"/>
                    <a:pt x="571" y="318"/>
                    <a:pt x="571" y="318"/>
                  </a:cubicBezTo>
                  <a:cubicBezTo>
                    <a:pt x="573" y="315"/>
                    <a:pt x="574" y="311"/>
                    <a:pt x="574" y="307"/>
                  </a:cubicBezTo>
                  <a:cubicBezTo>
                    <a:pt x="574" y="304"/>
                    <a:pt x="574" y="302"/>
                    <a:pt x="573" y="300"/>
                  </a:cubicBezTo>
                  <a:cubicBezTo>
                    <a:pt x="609" y="275"/>
                    <a:pt x="609" y="275"/>
                    <a:pt x="609" y="275"/>
                  </a:cubicBezTo>
                  <a:cubicBezTo>
                    <a:pt x="610" y="276"/>
                    <a:pt x="611" y="276"/>
                    <a:pt x="612" y="277"/>
                  </a:cubicBezTo>
                  <a:lnTo>
                    <a:pt x="612" y="3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3" name="Freeform 5"/>
          <p:cNvSpPr/>
          <p:nvPr/>
        </p:nvSpPr>
        <p:spPr bwMode="auto">
          <a:xfrm>
            <a:off x="982345" y="2833370"/>
            <a:ext cx="3382010" cy="952500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noAutofit/>
          </a:bodyPr>
          <a:p>
            <a:r>
              <a:rPr lang="en-US" sz="1800" b="1" dirty="0"/>
              <a:t>Lộ trình ảnh hưởng như thế nào đến phân bố lương?</a:t>
            </a:r>
            <a:endParaRPr lang="en-US" sz="1800" b="1" dirty="0"/>
          </a:p>
        </p:txBody>
      </p:sp>
      <p:sp>
        <p:nvSpPr>
          <p:cNvPr id="5" name="Freeform 6"/>
          <p:cNvSpPr/>
          <p:nvPr/>
        </p:nvSpPr>
        <p:spPr bwMode="auto">
          <a:xfrm>
            <a:off x="4050030" y="3785870"/>
            <a:ext cx="302895" cy="534670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/>
          </a:p>
        </p:txBody>
      </p:sp>
      <p:sp>
        <p:nvSpPr>
          <p:cNvPr id="7" name="Freeform 6"/>
          <p:cNvSpPr/>
          <p:nvPr/>
        </p:nvSpPr>
        <p:spPr bwMode="auto">
          <a:xfrm>
            <a:off x="4025900" y="5661025"/>
            <a:ext cx="302895" cy="534670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/>
          </a:p>
        </p:txBody>
      </p:sp>
      <p:sp>
        <p:nvSpPr>
          <p:cNvPr id="8" name="Freeform 5"/>
          <p:cNvSpPr/>
          <p:nvPr/>
        </p:nvSpPr>
        <p:spPr bwMode="auto">
          <a:xfrm flipH="1">
            <a:off x="7866380" y="2853055"/>
            <a:ext cx="3742690" cy="950595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noAutofit/>
          </a:bodyPr>
          <a:p>
            <a:pPr algn="l"/>
            <a:r>
              <a:rPr lang="en-US" sz="1800" b="1" dirty="0"/>
              <a:t>Năm kinh nghiệm ảnh hưởng </a:t>
            </a:r>
            <a:endParaRPr lang="en-US" sz="1800" b="1" dirty="0"/>
          </a:p>
          <a:p>
            <a:pPr algn="l"/>
            <a:r>
              <a:rPr lang="en-US" sz="1800" b="1" dirty="0"/>
              <a:t>như thế nào đến phân bố lương?</a:t>
            </a:r>
            <a:endParaRPr lang="en-US" sz="1800" b="1" dirty="0"/>
          </a:p>
        </p:txBody>
      </p:sp>
      <p:sp>
        <p:nvSpPr>
          <p:cNvPr id="10" name="Text Box 9"/>
          <p:cNvSpPr txBox="1"/>
          <p:nvPr/>
        </p:nvSpPr>
        <p:spPr>
          <a:xfrm>
            <a:off x="1033145" y="1382395"/>
            <a:ext cx="599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 b="1">
                <a:solidFill>
                  <a:schemeClr val="bg1"/>
                </a:solidFill>
              </a:rPr>
              <a:t>01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12" name="Text Box 11"/>
          <p:cNvSpPr txBox="1"/>
          <p:nvPr/>
        </p:nvSpPr>
        <p:spPr>
          <a:xfrm>
            <a:off x="1054100" y="2997200"/>
            <a:ext cx="599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 b="1">
                <a:solidFill>
                  <a:schemeClr val="bg1"/>
                </a:solidFill>
              </a:rPr>
              <a:t>02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13" name="Text Box 12"/>
          <p:cNvSpPr txBox="1"/>
          <p:nvPr/>
        </p:nvSpPr>
        <p:spPr>
          <a:xfrm>
            <a:off x="1125855" y="4926965"/>
            <a:ext cx="599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 b="1">
                <a:solidFill>
                  <a:schemeClr val="bg1"/>
                </a:solidFill>
              </a:rPr>
              <a:t>03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14" name="Text Box 13"/>
          <p:cNvSpPr txBox="1"/>
          <p:nvPr/>
        </p:nvSpPr>
        <p:spPr>
          <a:xfrm>
            <a:off x="10958195" y="1412875"/>
            <a:ext cx="599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 b="1">
                <a:solidFill>
                  <a:schemeClr val="bg1"/>
                </a:solidFill>
              </a:rPr>
              <a:t>04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15" name="Text Box 14"/>
          <p:cNvSpPr txBox="1"/>
          <p:nvPr/>
        </p:nvSpPr>
        <p:spPr>
          <a:xfrm>
            <a:off x="11135360" y="2997200"/>
            <a:ext cx="599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 b="1">
                <a:solidFill>
                  <a:schemeClr val="bg1"/>
                </a:solidFill>
              </a:rPr>
              <a:t>05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16" name="Text Box 15"/>
          <p:cNvSpPr txBox="1"/>
          <p:nvPr/>
        </p:nvSpPr>
        <p:spPr>
          <a:xfrm>
            <a:off x="11062970" y="4833620"/>
            <a:ext cx="59944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2800" b="1">
                <a:solidFill>
                  <a:schemeClr val="bg1"/>
                </a:solidFill>
              </a:rPr>
              <a:t>06</a:t>
            </a: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17" name="Freeform 6"/>
          <p:cNvSpPr/>
          <p:nvPr/>
        </p:nvSpPr>
        <p:spPr bwMode="auto">
          <a:xfrm flipH="1">
            <a:off x="7866380" y="3783965"/>
            <a:ext cx="331470" cy="514350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p>
            <a:endParaRPr lang="en-US"/>
          </a:p>
        </p:txBody>
      </p:sp>
      <p:sp>
        <p:nvSpPr>
          <p:cNvPr id="18" name="Freeform 6"/>
          <p:cNvSpPr/>
          <p:nvPr/>
        </p:nvSpPr>
        <p:spPr bwMode="auto">
          <a:xfrm flipH="1">
            <a:off x="7866380" y="5652770"/>
            <a:ext cx="331470" cy="514350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8110" y="260985"/>
            <a:ext cx="11927840" cy="599440"/>
          </a:xfrm>
        </p:spPr>
        <p:txBody>
          <a:bodyPr/>
          <a:lstStyle/>
          <a:p>
            <a:r>
              <a:rPr lang="en-US" sz="2800" dirty="0">
                <a:latin typeface="Calibri" panose="020F0502020204030204" charset="0"/>
                <a:cs typeface="Calibri" panose="020F0502020204030204" charset="0"/>
                <a:sym typeface="+mn-ea"/>
              </a:rPr>
              <a:t>THỂ LOẠI GIÁO VIÊN/NHÂN VIÊN ẢNH HƯỞNG THẾ NÀO ĐẾN PHÂN BỐ LƯƠNG ?</a:t>
            </a:r>
            <a:endParaRPr lang="en-US" sz="2800" dirty="0">
              <a:latin typeface="Calibri" panose="020F0502020204030204" charset="0"/>
              <a:cs typeface="Calibri" panose="020F0502020204030204" charset="0"/>
            </a:endParaRPr>
          </a:p>
        </p:txBody>
      </p:sp>
      <p:grpSp>
        <p:nvGrpSpPr>
          <p:cNvPr id="115" name="Group 114"/>
          <p:cNvGrpSpPr/>
          <p:nvPr/>
        </p:nvGrpSpPr>
        <p:grpSpPr>
          <a:xfrm>
            <a:off x="2847563" y="1052665"/>
            <a:ext cx="266339" cy="320154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118" name="Freeform 55"/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IN" sz="1200"/>
            </a:p>
          </p:txBody>
        </p:sp>
        <p:sp>
          <p:nvSpPr>
            <p:cNvPr id="119" name="Freeform 56"/>
            <p:cNvSpPr/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IN" sz="1200"/>
            </a:p>
          </p:txBody>
        </p:sp>
        <p:sp>
          <p:nvSpPr>
            <p:cNvPr id="120" name="Freeform 57"/>
            <p:cNvSpPr/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IN" sz="1200"/>
            </a:p>
          </p:txBody>
        </p:sp>
        <p:sp>
          <p:nvSpPr>
            <p:cNvPr id="121" name="Freeform 58"/>
            <p:cNvSpPr/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IN" sz="1200"/>
            </a:p>
          </p:txBody>
        </p:sp>
        <p:sp>
          <p:nvSpPr>
            <p:cNvPr id="122" name="Freeform 59"/>
            <p:cNvSpPr/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IN" sz="1200"/>
            </a:p>
          </p:txBody>
        </p:sp>
      </p:grpSp>
      <p:sp>
        <p:nvSpPr>
          <p:cNvPr id="128" name="TextBox 127"/>
          <p:cNvSpPr txBox="1"/>
          <p:nvPr/>
        </p:nvSpPr>
        <p:spPr>
          <a:xfrm>
            <a:off x="9158674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7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10024040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9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9025115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6238724" y="3459883"/>
            <a:ext cx="334183" cy="333873"/>
            <a:chOff x="6166420" y="4225094"/>
            <a:chExt cx="148107" cy="147970"/>
          </a:xfrm>
          <a:solidFill>
            <a:schemeClr val="accent2"/>
          </a:solidFill>
        </p:grpSpPr>
        <p:sp>
          <p:nvSpPr>
            <p:cNvPr id="163" name="Freeform 42"/>
            <p:cNvSpPr>
              <a:spLocks noEditPoints="1"/>
            </p:cNvSpPr>
            <p:nvPr/>
          </p:nvSpPr>
          <p:spPr bwMode="auto">
            <a:xfrm>
              <a:off x="6166420" y="4225094"/>
              <a:ext cx="148107" cy="79923"/>
            </a:xfrm>
            <a:custGeom>
              <a:avLst/>
              <a:gdLst>
                <a:gd name="T0" fmla="*/ 3279 w 6560"/>
                <a:gd name="T1" fmla="*/ 560 h 3540"/>
                <a:gd name="T2" fmla="*/ 858 w 6560"/>
                <a:gd name="T3" fmla="*/ 1770 h 3540"/>
                <a:gd name="T4" fmla="*/ 3279 w 6560"/>
                <a:gd name="T5" fmla="*/ 2980 h 3540"/>
                <a:gd name="T6" fmla="*/ 5702 w 6560"/>
                <a:gd name="T7" fmla="*/ 1770 h 3540"/>
                <a:gd name="T8" fmla="*/ 3279 w 6560"/>
                <a:gd name="T9" fmla="*/ 560 h 3540"/>
                <a:gd name="T10" fmla="*/ 3255 w 6560"/>
                <a:gd name="T11" fmla="*/ 0 h 3540"/>
                <a:gd name="T12" fmla="*/ 3305 w 6560"/>
                <a:gd name="T13" fmla="*/ 0 h 3540"/>
                <a:gd name="T14" fmla="*/ 3353 w 6560"/>
                <a:gd name="T15" fmla="*/ 8 h 3540"/>
                <a:gd name="T16" fmla="*/ 3399 w 6560"/>
                <a:gd name="T17" fmla="*/ 26 h 3540"/>
                <a:gd name="T18" fmla="*/ 6412 w 6560"/>
                <a:gd name="T19" fmla="*/ 1533 h 3540"/>
                <a:gd name="T20" fmla="*/ 6454 w 6560"/>
                <a:gd name="T21" fmla="*/ 1559 h 3540"/>
                <a:gd name="T22" fmla="*/ 6490 w 6560"/>
                <a:gd name="T23" fmla="*/ 1593 h 3540"/>
                <a:gd name="T24" fmla="*/ 6520 w 6560"/>
                <a:gd name="T25" fmla="*/ 1631 h 3540"/>
                <a:gd name="T26" fmla="*/ 6542 w 6560"/>
                <a:gd name="T27" fmla="*/ 1674 h 3540"/>
                <a:gd name="T28" fmla="*/ 6554 w 6560"/>
                <a:gd name="T29" fmla="*/ 1720 h 3540"/>
                <a:gd name="T30" fmla="*/ 6560 w 6560"/>
                <a:gd name="T31" fmla="*/ 1770 h 3540"/>
                <a:gd name="T32" fmla="*/ 6554 w 6560"/>
                <a:gd name="T33" fmla="*/ 1820 h 3540"/>
                <a:gd name="T34" fmla="*/ 6542 w 6560"/>
                <a:gd name="T35" fmla="*/ 1866 h 3540"/>
                <a:gd name="T36" fmla="*/ 6520 w 6560"/>
                <a:gd name="T37" fmla="*/ 1910 h 3540"/>
                <a:gd name="T38" fmla="*/ 6490 w 6560"/>
                <a:gd name="T39" fmla="*/ 1947 h 3540"/>
                <a:gd name="T40" fmla="*/ 6454 w 6560"/>
                <a:gd name="T41" fmla="*/ 1981 h 3540"/>
                <a:gd name="T42" fmla="*/ 6412 w 6560"/>
                <a:gd name="T43" fmla="*/ 2007 h 3540"/>
                <a:gd name="T44" fmla="*/ 3399 w 6560"/>
                <a:gd name="T45" fmla="*/ 3512 h 3540"/>
                <a:gd name="T46" fmla="*/ 3361 w 6560"/>
                <a:gd name="T47" fmla="*/ 3528 h 3540"/>
                <a:gd name="T48" fmla="*/ 3321 w 6560"/>
                <a:gd name="T49" fmla="*/ 3538 h 3540"/>
                <a:gd name="T50" fmla="*/ 3279 w 6560"/>
                <a:gd name="T51" fmla="*/ 3540 h 3540"/>
                <a:gd name="T52" fmla="*/ 3239 w 6560"/>
                <a:gd name="T53" fmla="*/ 3538 h 3540"/>
                <a:gd name="T54" fmla="*/ 3199 w 6560"/>
                <a:gd name="T55" fmla="*/ 3528 h 3540"/>
                <a:gd name="T56" fmla="*/ 3161 w 6560"/>
                <a:gd name="T57" fmla="*/ 3512 h 3540"/>
                <a:gd name="T58" fmla="*/ 146 w 6560"/>
                <a:gd name="T59" fmla="*/ 2007 h 3540"/>
                <a:gd name="T60" fmla="*/ 104 w 6560"/>
                <a:gd name="T61" fmla="*/ 1981 h 3540"/>
                <a:gd name="T62" fmla="*/ 68 w 6560"/>
                <a:gd name="T63" fmla="*/ 1947 h 3540"/>
                <a:gd name="T64" fmla="*/ 40 w 6560"/>
                <a:gd name="T65" fmla="*/ 1910 h 3540"/>
                <a:gd name="T66" fmla="*/ 18 w 6560"/>
                <a:gd name="T67" fmla="*/ 1866 h 3540"/>
                <a:gd name="T68" fmla="*/ 4 w 6560"/>
                <a:gd name="T69" fmla="*/ 1820 h 3540"/>
                <a:gd name="T70" fmla="*/ 0 w 6560"/>
                <a:gd name="T71" fmla="*/ 1770 h 3540"/>
                <a:gd name="T72" fmla="*/ 4 w 6560"/>
                <a:gd name="T73" fmla="*/ 1720 h 3540"/>
                <a:gd name="T74" fmla="*/ 18 w 6560"/>
                <a:gd name="T75" fmla="*/ 1674 h 3540"/>
                <a:gd name="T76" fmla="*/ 40 w 6560"/>
                <a:gd name="T77" fmla="*/ 1631 h 3540"/>
                <a:gd name="T78" fmla="*/ 68 w 6560"/>
                <a:gd name="T79" fmla="*/ 1593 h 3540"/>
                <a:gd name="T80" fmla="*/ 104 w 6560"/>
                <a:gd name="T81" fmla="*/ 1559 h 3540"/>
                <a:gd name="T82" fmla="*/ 146 w 6560"/>
                <a:gd name="T83" fmla="*/ 1533 h 3540"/>
                <a:gd name="T84" fmla="*/ 3161 w 6560"/>
                <a:gd name="T85" fmla="*/ 26 h 3540"/>
                <a:gd name="T86" fmla="*/ 3207 w 6560"/>
                <a:gd name="T87" fmla="*/ 8 h 3540"/>
                <a:gd name="T88" fmla="*/ 3255 w 6560"/>
                <a:gd name="T89" fmla="*/ 0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60" h="3540">
                  <a:moveTo>
                    <a:pt x="3279" y="560"/>
                  </a:moveTo>
                  <a:lnTo>
                    <a:pt x="858" y="1770"/>
                  </a:lnTo>
                  <a:lnTo>
                    <a:pt x="3279" y="2980"/>
                  </a:lnTo>
                  <a:lnTo>
                    <a:pt x="5702" y="1770"/>
                  </a:lnTo>
                  <a:lnTo>
                    <a:pt x="3279" y="560"/>
                  </a:lnTo>
                  <a:close/>
                  <a:moveTo>
                    <a:pt x="3255" y="0"/>
                  </a:moveTo>
                  <a:lnTo>
                    <a:pt x="3305" y="0"/>
                  </a:lnTo>
                  <a:lnTo>
                    <a:pt x="3353" y="8"/>
                  </a:lnTo>
                  <a:lnTo>
                    <a:pt x="3399" y="26"/>
                  </a:lnTo>
                  <a:lnTo>
                    <a:pt x="6412" y="1533"/>
                  </a:lnTo>
                  <a:lnTo>
                    <a:pt x="6454" y="1559"/>
                  </a:lnTo>
                  <a:lnTo>
                    <a:pt x="6490" y="1593"/>
                  </a:lnTo>
                  <a:lnTo>
                    <a:pt x="6520" y="1631"/>
                  </a:lnTo>
                  <a:lnTo>
                    <a:pt x="6542" y="1674"/>
                  </a:lnTo>
                  <a:lnTo>
                    <a:pt x="6554" y="1720"/>
                  </a:lnTo>
                  <a:lnTo>
                    <a:pt x="6560" y="1770"/>
                  </a:lnTo>
                  <a:lnTo>
                    <a:pt x="6554" y="1820"/>
                  </a:lnTo>
                  <a:lnTo>
                    <a:pt x="6542" y="1866"/>
                  </a:lnTo>
                  <a:lnTo>
                    <a:pt x="6520" y="1910"/>
                  </a:lnTo>
                  <a:lnTo>
                    <a:pt x="6490" y="1947"/>
                  </a:lnTo>
                  <a:lnTo>
                    <a:pt x="6454" y="1981"/>
                  </a:lnTo>
                  <a:lnTo>
                    <a:pt x="6412" y="2007"/>
                  </a:lnTo>
                  <a:lnTo>
                    <a:pt x="3399" y="3512"/>
                  </a:lnTo>
                  <a:lnTo>
                    <a:pt x="3361" y="3528"/>
                  </a:lnTo>
                  <a:lnTo>
                    <a:pt x="3321" y="3538"/>
                  </a:lnTo>
                  <a:lnTo>
                    <a:pt x="3279" y="3540"/>
                  </a:lnTo>
                  <a:lnTo>
                    <a:pt x="3239" y="3538"/>
                  </a:lnTo>
                  <a:lnTo>
                    <a:pt x="3199" y="3528"/>
                  </a:lnTo>
                  <a:lnTo>
                    <a:pt x="3161" y="3512"/>
                  </a:lnTo>
                  <a:lnTo>
                    <a:pt x="146" y="2007"/>
                  </a:lnTo>
                  <a:lnTo>
                    <a:pt x="104" y="1981"/>
                  </a:lnTo>
                  <a:lnTo>
                    <a:pt x="68" y="1947"/>
                  </a:lnTo>
                  <a:lnTo>
                    <a:pt x="40" y="1910"/>
                  </a:lnTo>
                  <a:lnTo>
                    <a:pt x="18" y="1866"/>
                  </a:lnTo>
                  <a:lnTo>
                    <a:pt x="4" y="1820"/>
                  </a:lnTo>
                  <a:lnTo>
                    <a:pt x="0" y="1770"/>
                  </a:lnTo>
                  <a:lnTo>
                    <a:pt x="4" y="1720"/>
                  </a:lnTo>
                  <a:lnTo>
                    <a:pt x="18" y="1674"/>
                  </a:lnTo>
                  <a:lnTo>
                    <a:pt x="40" y="1631"/>
                  </a:lnTo>
                  <a:lnTo>
                    <a:pt x="68" y="1593"/>
                  </a:lnTo>
                  <a:lnTo>
                    <a:pt x="104" y="1559"/>
                  </a:lnTo>
                  <a:lnTo>
                    <a:pt x="146" y="1533"/>
                  </a:lnTo>
                  <a:lnTo>
                    <a:pt x="3161" y="26"/>
                  </a:lnTo>
                  <a:lnTo>
                    <a:pt x="3207" y="8"/>
                  </a:lnTo>
                  <a:lnTo>
                    <a:pt x="3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IN" sz="1200"/>
            </a:p>
          </p:txBody>
        </p:sp>
        <p:sp>
          <p:nvSpPr>
            <p:cNvPr id="164" name="Freeform 43"/>
            <p:cNvSpPr/>
            <p:nvPr/>
          </p:nvSpPr>
          <p:spPr bwMode="auto">
            <a:xfrm>
              <a:off x="6166420" y="4327097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0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0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0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89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5 h 2035"/>
                <a:gd name="T38" fmla="*/ 6538 w 6558"/>
                <a:gd name="T39" fmla="*/ 369 h 2035"/>
                <a:gd name="T40" fmla="*/ 6516 w 6558"/>
                <a:gd name="T41" fmla="*/ 408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1 h 2035"/>
                <a:gd name="T54" fmla="*/ 3279 w 6558"/>
                <a:gd name="T55" fmla="*/ 2035 h 2035"/>
                <a:gd name="T56" fmla="*/ 3239 w 6558"/>
                <a:gd name="T57" fmla="*/ 2031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8 h 2035"/>
                <a:gd name="T70" fmla="*/ 22 w 6558"/>
                <a:gd name="T71" fmla="*/ 369 h 2035"/>
                <a:gd name="T72" fmla="*/ 8 w 6558"/>
                <a:gd name="T73" fmla="*/ 325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89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0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0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0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0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89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5"/>
                  </a:lnTo>
                  <a:lnTo>
                    <a:pt x="6538" y="369"/>
                  </a:lnTo>
                  <a:lnTo>
                    <a:pt x="6516" y="408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1"/>
                  </a:lnTo>
                  <a:lnTo>
                    <a:pt x="3279" y="2035"/>
                  </a:lnTo>
                  <a:lnTo>
                    <a:pt x="3239" y="2031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8"/>
                  </a:lnTo>
                  <a:lnTo>
                    <a:pt x="22" y="369"/>
                  </a:lnTo>
                  <a:lnTo>
                    <a:pt x="8" y="325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89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0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IN" sz="1200"/>
            </a:p>
          </p:txBody>
        </p:sp>
        <p:sp>
          <p:nvSpPr>
            <p:cNvPr id="165" name="Freeform 44"/>
            <p:cNvSpPr/>
            <p:nvPr/>
          </p:nvSpPr>
          <p:spPr bwMode="auto">
            <a:xfrm>
              <a:off x="6166420" y="4293096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2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2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2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91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7 h 2035"/>
                <a:gd name="T38" fmla="*/ 6538 w 6558"/>
                <a:gd name="T39" fmla="*/ 369 h 2035"/>
                <a:gd name="T40" fmla="*/ 6516 w 6558"/>
                <a:gd name="T41" fmla="*/ 409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3 h 2035"/>
                <a:gd name="T54" fmla="*/ 3279 w 6558"/>
                <a:gd name="T55" fmla="*/ 2035 h 2035"/>
                <a:gd name="T56" fmla="*/ 3239 w 6558"/>
                <a:gd name="T57" fmla="*/ 2033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9 h 2035"/>
                <a:gd name="T70" fmla="*/ 22 w 6558"/>
                <a:gd name="T71" fmla="*/ 369 h 2035"/>
                <a:gd name="T72" fmla="*/ 8 w 6558"/>
                <a:gd name="T73" fmla="*/ 327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91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2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2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2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2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91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7"/>
                  </a:lnTo>
                  <a:lnTo>
                    <a:pt x="6538" y="369"/>
                  </a:lnTo>
                  <a:lnTo>
                    <a:pt x="6516" y="409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3"/>
                  </a:lnTo>
                  <a:lnTo>
                    <a:pt x="3279" y="2035"/>
                  </a:lnTo>
                  <a:lnTo>
                    <a:pt x="3239" y="2033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9"/>
                  </a:lnTo>
                  <a:lnTo>
                    <a:pt x="22" y="369"/>
                  </a:lnTo>
                  <a:lnTo>
                    <a:pt x="8" y="327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91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2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IN" sz="1200"/>
            </a:p>
          </p:txBody>
        </p:sp>
      </p:grpSp>
      <p:cxnSp>
        <p:nvCxnSpPr>
          <p:cNvPr id="18" name="Straight Connector 17"/>
          <p:cNvCxnSpPr/>
          <p:nvPr/>
        </p:nvCxnSpPr>
        <p:spPr>
          <a:xfrm>
            <a:off x="261938" y="2505449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958850" y="1087120"/>
            <a:ext cx="1866265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ƯƠNG TRUNG BÌNH CỦA GIÁO VIÊN</a:t>
            </a:r>
            <a:endParaRPr lang="en-US" altLang="en-IN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12140" y="1701165"/>
            <a:ext cx="2060575" cy="4305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US" altLang="en-IN" sz="2800" dirty="0">
                <a:solidFill>
                  <a:schemeClr val="accent1"/>
                </a:solidFill>
              </a:rPr>
              <a:t>$</a:t>
            </a:r>
            <a:r>
              <a:rPr lang="en-IN" sz="2800" dirty="0">
                <a:solidFill>
                  <a:schemeClr val="accent1"/>
                </a:solidFill>
              </a:rPr>
              <a:t>74038.8926</a:t>
            </a:r>
            <a:endParaRPr lang="en-IN" sz="2800" dirty="0">
              <a:solidFill>
                <a:schemeClr val="accent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61938" y="1036412"/>
            <a:ext cx="531730" cy="531730"/>
            <a:chOff x="1060566" y="1943691"/>
            <a:chExt cx="531730" cy="531730"/>
          </a:xfrm>
        </p:grpSpPr>
        <p:sp>
          <p:nvSpPr>
            <p:cNvPr id="194" name="Oval 193"/>
            <p:cNvSpPr/>
            <p:nvPr/>
          </p:nvSpPr>
          <p:spPr>
            <a:xfrm>
              <a:off x="1060566" y="1943691"/>
              <a:ext cx="531730" cy="5317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95" name="Group 194"/>
            <p:cNvGrpSpPr/>
            <p:nvPr/>
          </p:nvGrpSpPr>
          <p:grpSpPr>
            <a:xfrm>
              <a:off x="1211844" y="2078944"/>
              <a:ext cx="279100" cy="261224"/>
              <a:chOff x="765175" y="1228726"/>
              <a:chExt cx="5205413" cy="4872038"/>
            </a:xfrm>
            <a:solidFill>
              <a:schemeClr val="bg1"/>
            </a:solidFill>
          </p:grpSpPr>
          <p:sp>
            <p:nvSpPr>
              <p:cNvPr id="196" name="Freeform 6"/>
              <p:cNvSpPr/>
              <p:nvPr/>
            </p:nvSpPr>
            <p:spPr bwMode="auto">
              <a:xfrm>
                <a:off x="1477963" y="23304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2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7 h 383"/>
                  <a:gd name="T16" fmla="*/ 3049 w 3049"/>
                  <a:gd name="T17" fmla="*/ 191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0 h 383"/>
                  <a:gd name="T26" fmla="*/ 2941 w 3049"/>
                  <a:gd name="T27" fmla="*/ 364 h 383"/>
                  <a:gd name="T28" fmla="*/ 2901 w 3049"/>
                  <a:gd name="T29" fmla="*/ 378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8 h 383"/>
                  <a:gd name="T36" fmla="*/ 106 w 3049"/>
                  <a:gd name="T37" fmla="*/ 364 h 383"/>
                  <a:gd name="T38" fmla="*/ 70 w 3049"/>
                  <a:gd name="T39" fmla="*/ 340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1 h 383"/>
                  <a:gd name="T48" fmla="*/ 4 w 3049"/>
                  <a:gd name="T49" fmla="*/ 147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2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2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7"/>
                    </a:lnTo>
                    <a:lnTo>
                      <a:pt x="3049" y="191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0"/>
                    </a:lnTo>
                    <a:lnTo>
                      <a:pt x="2941" y="364"/>
                    </a:lnTo>
                    <a:lnTo>
                      <a:pt x="2901" y="378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8"/>
                    </a:lnTo>
                    <a:lnTo>
                      <a:pt x="106" y="364"/>
                    </a:lnTo>
                    <a:lnTo>
                      <a:pt x="70" y="340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1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197" name="Freeform 7"/>
              <p:cNvSpPr/>
              <p:nvPr/>
            </p:nvSpPr>
            <p:spPr bwMode="auto">
              <a:xfrm>
                <a:off x="1477963" y="28511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3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9 h 383"/>
                  <a:gd name="T16" fmla="*/ 3049 w 3049"/>
                  <a:gd name="T17" fmla="*/ 192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1 h 383"/>
                  <a:gd name="T26" fmla="*/ 2941 w 3049"/>
                  <a:gd name="T27" fmla="*/ 363 h 383"/>
                  <a:gd name="T28" fmla="*/ 2901 w 3049"/>
                  <a:gd name="T29" fmla="*/ 377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7 h 383"/>
                  <a:gd name="T36" fmla="*/ 106 w 3049"/>
                  <a:gd name="T37" fmla="*/ 363 h 383"/>
                  <a:gd name="T38" fmla="*/ 70 w 3049"/>
                  <a:gd name="T39" fmla="*/ 341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2 h 383"/>
                  <a:gd name="T48" fmla="*/ 4 w 3049"/>
                  <a:gd name="T49" fmla="*/ 149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3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3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9"/>
                    </a:lnTo>
                    <a:lnTo>
                      <a:pt x="3049" y="192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1"/>
                    </a:lnTo>
                    <a:lnTo>
                      <a:pt x="2941" y="363"/>
                    </a:lnTo>
                    <a:lnTo>
                      <a:pt x="2901" y="377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7"/>
                    </a:lnTo>
                    <a:lnTo>
                      <a:pt x="106" y="363"/>
                    </a:lnTo>
                    <a:lnTo>
                      <a:pt x="70" y="341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2"/>
                    </a:lnTo>
                    <a:lnTo>
                      <a:pt x="4" y="149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3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198" name="Freeform 8"/>
              <p:cNvSpPr/>
              <p:nvPr/>
            </p:nvSpPr>
            <p:spPr bwMode="auto">
              <a:xfrm>
                <a:off x="1477963" y="4935538"/>
                <a:ext cx="1422400" cy="303213"/>
              </a:xfrm>
              <a:custGeom>
                <a:avLst/>
                <a:gdLst>
                  <a:gd name="T0" fmla="*/ 191 w 1793"/>
                  <a:gd name="T1" fmla="*/ 0 h 381"/>
                  <a:gd name="T2" fmla="*/ 1602 w 1793"/>
                  <a:gd name="T3" fmla="*/ 0 h 381"/>
                  <a:gd name="T4" fmla="*/ 1646 w 1793"/>
                  <a:gd name="T5" fmla="*/ 6 h 381"/>
                  <a:gd name="T6" fmla="*/ 1686 w 1793"/>
                  <a:gd name="T7" fmla="*/ 20 h 381"/>
                  <a:gd name="T8" fmla="*/ 1721 w 1793"/>
                  <a:gd name="T9" fmla="*/ 41 h 381"/>
                  <a:gd name="T10" fmla="*/ 1751 w 1793"/>
                  <a:gd name="T11" fmla="*/ 71 h 381"/>
                  <a:gd name="T12" fmla="*/ 1773 w 1793"/>
                  <a:gd name="T13" fmla="*/ 107 h 381"/>
                  <a:gd name="T14" fmla="*/ 1787 w 1793"/>
                  <a:gd name="T15" fmla="*/ 147 h 381"/>
                  <a:gd name="T16" fmla="*/ 1793 w 1793"/>
                  <a:gd name="T17" fmla="*/ 190 h 381"/>
                  <a:gd name="T18" fmla="*/ 1787 w 1793"/>
                  <a:gd name="T19" fmla="*/ 234 h 381"/>
                  <a:gd name="T20" fmla="*/ 1773 w 1793"/>
                  <a:gd name="T21" fmla="*/ 274 h 381"/>
                  <a:gd name="T22" fmla="*/ 1751 w 1793"/>
                  <a:gd name="T23" fmla="*/ 310 h 381"/>
                  <a:gd name="T24" fmla="*/ 1721 w 1793"/>
                  <a:gd name="T25" fmla="*/ 339 h 381"/>
                  <a:gd name="T26" fmla="*/ 1686 w 1793"/>
                  <a:gd name="T27" fmla="*/ 361 h 381"/>
                  <a:gd name="T28" fmla="*/ 1646 w 1793"/>
                  <a:gd name="T29" fmla="*/ 377 h 381"/>
                  <a:gd name="T30" fmla="*/ 1602 w 1793"/>
                  <a:gd name="T31" fmla="*/ 381 h 381"/>
                  <a:gd name="T32" fmla="*/ 191 w 1793"/>
                  <a:gd name="T33" fmla="*/ 381 h 381"/>
                  <a:gd name="T34" fmla="*/ 148 w 1793"/>
                  <a:gd name="T35" fmla="*/ 377 h 381"/>
                  <a:gd name="T36" fmla="*/ 106 w 1793"/>
                  <a:gd name="T37" fmla="*/ 361 h 381"/>
                  <a:gd name="T38" fmla="*/ 70 w 1793"/>
                  <a:gd name="T39" fmla="*/ 339 h 381"/>
                  <a:gd name="T40" fmla="*/ 42 w 1793"/>
                  <a:gd name="T41" fmla="*/ 310 h 381"/>
                  <a:gd name="T42" fmla="*/ 18 w 1793"/>
                  <a:gd name="T43" fmla="*/ 274 h 381"/>
                  <a:gd name="T44" fmla="*/ 4 w 1793"/>
                  <a:gd name="T45" fmla="*/ 234 h 381"/>
                  <a:gd name="T46" fmla="*/ 0 w 1793"/>
                  <a:gd name="T47" fmla="*/ 190 h 381"/>
                  <a:gd name="T48" fmla="*/ 4 w 1793"/>
                  <a:gd name="T49" fmla="*/ 147 h 381"/>
                  <a:gd name="T50" fmla="*/ 18 w 1793"/>
                  <a:gd name="T51" fmla="*/ 107 h 381"/>
                  <a:gd name="T52" fmla="*/ 42 w 1793"/>
                  <a:gd name="T53" fmla="*/ 71 h 381"/>
                  <a:gd name="T54" fmla="*/ 70 w 1793"/>
                  <a:gd name="T55" fmla="*/ 41 h 381"/>
                  <a:gd name="T56" fmla="*/ 106 w 1793"/>
                  <a:gd name="T57" fmla="*/ 20 h 381"/>
                  <a:gd name="T58" fmla="*/ 148 w 1793"/>
                  <a:gd name="T59" fmla="*/ 6 h 381"/>
                  <a:gd name="T60" fmla="*/ 191 w 1793"/>
                  <a:gd name="T61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93" h="381">
                    <a:moveTo>
                      <a:pt x="191" y="0"/>
                    </a:moveTo>
                    <a:lnTo>
                      <a:pt x="1602" y="0"/>
                    </a:lnTo>
                    <a:lnTo>
                      <a:pt x="1646" y="6"/>
                    </a:lnTo>
                    <a:lnTo>
                      <a:pt x="1686" y="20"/>
                    </a:lnTo>
                    <a:lnTo>
                      <a:pt x="1721" y="41"/>
                    </a:lnTo>
                    <a:lnTo>
                      <a:pt x="1751" y="71"/>
                    </a:lnTo>
                    <a:lnTo>
                      <a:pt x="1773" y="107"/>
                    </a:lnTo>
                    <a:lnTo>
                      <a:pt x="1787" y="147"/>
                    </a:lnTo>
                    <a:lnTo>
                      <a:pt x="1793" y="190"/>
                    </a:lnTo>
                    <a:lnTo>
                      <a:pt x="1787" y="234"/>
                    </a:lnTo>
                    <a:lnTo>
                      <a:pt x="1773" y="274"/>
                    </a:lnTo>
                    <a:lnTo>
                      <a:pt x="1751" y="310"/>
                    </a:lnTo>
                    <a:lnTo>
                      <a:pt x="1721" y="339"/>
                    </a:lnTo>
                    <a:lnTo>
                      <a:pt x="1686" y="361"/>
                    </a:lnTo>
                    <a:lnTo>
                      <a:pt x="1646" y="377"/>
                    </a:lnTo>
                    <a:lnTo>
                      <a:pt x="1602" y="381"/>
                    </a:lnTo>
                    <a:lnTo>
                      <a:pt x="191" y="381"/>
                    </a:lnTo>
                    <a:lnTo>
                      <a:pt x="148" y="377"/>
                    </a:lnTo>
                    <a:lnTo>
                      <a:pt x="106" y="361"/>
                    </a:lnTo>
                    <a:lnTo>
                      <a:pt x="70" y="339"/>
                    </a:lnTo>
                    <a:lnTo>
                      <a:pt x="42" y="310"/>
                    </a:lnTo>
                    <a:lnTo>
                      <a:pt x="18" y="274"/>
                    </a:lnTo>
                    <a:lnTo>
                      <a:pt x="4" y="234"/>
                    </a:lnTo>
                    <a:lnTo>
                      <a:pt x="0" y="190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1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199" name="Freeform 9"/>
              <p:cNvSpPr>
                <a:spLocks noEditPoints="1"/>
              </p:cNvSpPr>
              <p:nvPr/>
            </p:nvSpPr>
            <p:spPr bwMode="auto">
              <a:xfrm>
                <a:off x="765175" y="1228726"/>
                <a:ext cx="5205413" cy="4872038"/>
              </a:xfrm>
              <a:custGeom>
                <a:avLst/>
                <a:gdLst>
                  <a:gd name="T0" fmla="*/ 3681 w 6558"/>
                  <a:gd name="T1" fmla="*/ 4366 h 6138"/>
                  <a:gd name="T2" fmla="*/ 5597 w 6558"/>
                  <a:gd name="T3" fmla="*/ 910 h 6138"/>
                  <a:gd name="T4" fmla="*/ 4282 w 6558"/>
                  <a:gd name="T5" fmla="*/ 5757 h 6138"/>
                  <a:gd name="T6" fmla="*/ 4268 w 6558"/>
                  <a:gd name="T7" fmla="*/ 4376 h 6138"/>
                  <a:gd name="T8" fmla="*/ 3426 w 6558"/>
                  <a:gd name="T9" fmla="*/ 5047 h 6138"/>
                  <a:gd name="T10" fmla="*/ 3317 w 6558"/>
                  <a:gd name="T11" fmla="*/ 5039 h 6138"/>
                  <a:gd name="T12" fmla="*/ 3227 w 6558"/>
                  <a:gd name="T13" fmla="*/ 4972 h 6138"/>
                  <a:gd name="T14" fmla="*/ 3191 w 6558"/>
                  <a:gd name="T15" fmla="*/ 4862 h 6138"/>
                  <a:gd name="T16" fmla="*/ 1088 w 6558"/>
                  <a:gd name="T17" fmla="*/ 4395 h 6138"/>
                  <a:gd name="T18" fmla="*/ 967 w 6558"/>
                  <a:gd name="T19" fmla="*/ 4354 h 6138"/>
                  <a:gd name="T20" fmla="*/ 901 w 6558"/>
                  <a:gd name="T21" fmla="*/ 4248 h 6138"/>
                  <a:gd name="T22" fmla="*/ 915 w 6558"/>
                  <a:gd name="T23" fmla="*/ 4121 h 6138"/>
                  <a:gd name="T24" fmla="*/ 1003 w 6558"/>
                  <a:gd name="T25" fmla="*/ 4034 h 6138"/>
                  <a:gd name="T26" fmla="*/ 3363 w 6558"/>
                  <a:gd name="T27" fmla="*/ 4014 h 6138"/>
                  <a:gd name="T28" fmla="*/ 3418 w 6558"/>
                  <a:gd name="T29" fmla="*/ 3793 h 6138"/>
                  <a:gd name="T30" fmla="*/ 1045 w 6558"/>
                  <a:gd name="T31" fmla="*/ 3734 h 6138"/>
                  <a:gd name="T32" fmla="*/ 939 w 6558"/>
                  <a:gd name="T33" fmla="*/ 3668 h 6138"/>
                  <a:gd name="T34" fmla="*/ 897 w 6558"/>
                  <a:gd name="T35" fmla="*/ 3549 h 6138"/>
                  <a:gd name="T36" fmla="*/ 939 w 6558"/>
                  <a:gd name="T37" fmla="*/ 3430 h 6138"/>
                  <a:gd name="T38" fmla="*/ 1045 w 6558"/>
                  <a:gd name="T39" fmla="*/ 3362 h 6138"/>
                  <a:gd name="T40" fmla="*/ 3868 w 6558"/>
                  <a:gd name="T41" fmla="*/ 3046 h 6138"/>
                  <a:gd name="T42" fmla="*/ 3755 w 6558"/>
                  <a:gd name="T43" fmla="*/ 3084 h 6138"/>
                  <a:gd name="T44" fmla="*/ 1003 w 6558"/>
                  <a:gd name="T45" fmla="*/ 3064 h 6138"/>
                  <a:gd name="T46" fmla="*/ 915 w 6558"/>
                  <a:gd name="T47" fmla="*/ 2977 h 6138"/>
                  <a:gd name="T48" fmla="*/ 901 w 6558"/>
                  <a:gd name="T49" fmla="*/ 2849 h 6138"/>
                  <a:gd name="T50" fmla="*/ 967 w 6558"/>
                  <a:gd name="T51" fmla="*/ 2744 h 6138"/>
                  <a:gd name="T52" fmla="*/ 1088 w 6558"/>
                  <a:gd name="T53" fmla="*/ 2702 h 6138"/>
                  <a:gd name="T54" fmla="*/ 3838 w 6558"/>
                  <a:gd name="T55" fmla="*/ 2720 h 6138"/>
                  <a:gd name="T56" fmla="*/ 3926 w 6558"/>
                  <a:gd name="T57" fmla="*/ 2808 h 6138"/>
                  <a:gd name="T58" fmla="*/ 3946 w 6558"/>
                  <a:gd name="T59" fmla="*/ 2907 h 6138"/>
                  <a:gd name="T60" fmla="*/ 4282 w 6558"/>
                  <a:gd name="T61" fmla="*/ 759 h 6138"/>
                  <a:gd name="T62" fmla="*/ 5794 w 6558"/>
                  <a:gd name="T63" fmla="*/ 582 h 6138"/>
                  <a:gd name="T64" fmla="*/ 5872 w 6558"/>
                  <a:gd name="T65" fmla="*/ 453 h 6138"/>
                  <a:gd name="T66" fmla="*/ 5872 w 6558"/>
                  <a:gd name="T67" fmla="*/ 12 h 6138"/>
                  <a:gd name="T68" fmla="*/ 6502 w 6558"/>
                  <a:gd name="T69" fmla="*/ 391 h 6138"/>
                  <a:gd name="T70" fmla="*/ 6558 w 6558"/>
                  <a:gd name="T71" fmla="*/ 503 h 6138"/>
                  <a:gd name="T72" fmla="*/ 6532 w 6558"/>
                  <a:gd name="T73" fmla="*/ 626 h 6138"/>
                  <a:gd name="T74" fmla="*/ 4658 w 6558"/>
                  <a:gd name="T75" fmla="*/ 5991 h 6138"/>
                  <a:gd name="T76" fmla="*/ 4592 w 6558"/>
                  <a:gd name="T77" fmla="*/ 6096 h 6138"/>
                  <a:gd name="T78" fmla="*/ 4473 w 6558"/>
                  <a:gd name="T79" fmla="*/ 6138 h 6138"/>
                  <a:gd name="T80" fmla="*/ 107 w 6558"/>
                  <a:gd name="T81" fmla="*/ 6120 h 6138"/>
                  <a:gd name="T82" fmla="*/ 20 w 6558"/>
                  <a:gd name="T83" fmla="*/ 6031 h 6138"/>
                  <a:gd name="T84" fmla="*/ 0 w 6558"/>
                  <a:gd name="T85" fmla="*/ 568 h 6138"/>
                  <a:gd name="T86" fmla="*/ 42 w 6558"/>
                  <a:gd name="T87" fmla="*/ 449 h 6138"/>
                  <a:gd name="T88" fmla="*/ 147 w 6558"/>
                  <a:gd name="T89" fmla="*/ 382 h 6138"/>
                  <a:gd name="T90" fmla="*/ 4517 w 6558"/>
                  <a:gd name="T91" fmla="*/ 382 h 6138"/>
                  <a:gd name="T92" fmla="*/ 4622 w 6558"/>
                  <a:gd name="T93" fmla="*/ 449 h 6138"/>
                  <a:gd name="T94" fmla="*/ 4664 w 6558"/>
                  <a:gd name="T95" fmla="*/ 568 h 6138"/>
                  <a:gd name="T96" fmla="*/ 5665 w 6558"/>
                  <a:gd name="T97" fmla="*/ 64 h 6138"/>
                  <a:gd name="T98" fmla="*/ 5760 w 6558"/>
                  <a:gd name="T99" fmla="*/ 6 h 6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58" h="6138">
                    <a:moveTo>
                      <a:pt x="5597" y="910"/>
                    </a:moveTo>
                    <a:lnTo>
                      <a:pt x="3763" y="3962"/>
                    </a:lnTo>
                    <a:lnTo>
                      <a:pt x="3681" y="4366"/>
                    </a:lnTo>
                    <a:lnTo>
                      <a:pt x="3997" y="4103"/>
                    </a:lnTo>
                    <a:lnTo>
                      <a:pt x="5832" y="1051"/>
                    </a:lnTo>
                    <a:lnTo>
                      <a:pt x="5597" y="910"/>
                    </a:lnTo>
                    <a:close/>
                    <a:moveTo>
                      <a:pt x="382" y="759"/>
                    </a:moveTo>
                    <a:lnTo>
                      <a:pt x="382" y="5757"/>
                    </a:lnTo>
                    <a:lnTo>
                      <a:pt x="4282" y="5757"/>
                    </a:lnTo>
                    <a:lnTo>
                      <a:pt x="4282" y="4362"/>
                    </a:lnTo>
                    <a:lnTo>
                      <a:pt x="4274" y="4370"/>
                    </a:lnTo>
                    <a:lnTo>
                      <a:pt x="4268" y="4376"/>
                    </a:lnTo>
                    <a:lnTo>
                      <a:pt x="3506" y="5007"/>
                    </a:lnTo>
                    <a:lnTo>
                      <a:pt x="3468" y="5031"/>
                    </a:lnTo>
                    <a:lnTo>
                      <a:pt x="3426" y="5047"/>
                    </a:lnTo>
                    <a:lnTo>
                      <a:pt x="3382" y="5051"/>
                    </a:lnTo>
                    <a:lnTo>
                      <a:pt x="3349" y="5049"/>
                    </a:lnTo>
                    <a:lnTo>
                      <a:pt x="3317" y="5039"/>
                    </a:lnTo>
                    <a:lnTo>
                      <a:pt x="3285" y="5025"/>
                    </a:lnTo>
                    <a:lnTo>
                      <a:pt x="3253" y="5000"/>
                    </a:lnTo>
                    <a:lnTo>
                      <a:pt x="3227" y="4972"/>
                    </a:lnTo>
                    <a:lnTo>
                      <a:pt x="3207" y="4938"/>
                    </a:lnTo>
                    <a:lnTo>
                      <a:pt x="3195" y="4900"/>
                    </a:lnTo>
                    <a:lnTo>
                      <a:pt x="3191" y="4862"/>
                    </a:lnTo>
                    <a:lnTo>
                      <a:pt x="3195" y="4823"/>
                    </a:lnTo>
                    <a:lnTo>
                      <a:pt x="3283" y="4395"/>
                    </a:lnTo>
                    <a:lnTo>
                      <a:pt x="1088" y="4395"/>
                    </a:lnTo>
                    <a:lnTo>
                      <a:pt x="1045" y="4391"/>
                    </a:lnTo>
                    <a:lnTo>
                      <a:pt x="1003" y="4376"/>
                    </a:lnTo>
                    <a:lnTo>
                      <a:pt x="967" y="4354"/>
                    </a:lnTo>
                    <a:lnTo>
                      <a:pt x="939" y="4324"/>
                    </a:lnTo>
                    <a:lnTo>
                      <a:pt x="915" y="4288"/>
                    </a:lnTo>
                    <a:lnTo>
                      <a:pt x="901" y="4248"/>
                    </a:lnTo>
                    <a:lnTo>
                      <a:pt x="897" y="4205"/>
                    </a:lnTo>
                    <a:lnTo>
                      <a:pt x="901" y="4161"/>
                    </a:lnTo>
                    <a:lnTo>
                      <a:pt x="915" y="4121"/>
                    </a:lnTo>
                    <a:lnTo>
                      <a:pt x="939" y="4085"/>
                    </a:lnTo>
                    <a:lnTo>
                      <a:pt x="967" y="4056"/>
                    </a:lnTo>
                    <a:lnTo>
                      <a:pt x="1003" y="4034"/>
                    </a:lnTo>
                    <a:lnTo>
                      <a:pt x="1045" y="4018"/>
                    </a:lnTo>
                    <a:lnTo>
                      <a:pt x="1088" y="4014"/>
                    </a:lnTo>
                    <a:lnTo>
                      <a:pt x="3363" y="4014"/>
                    </a:lnTo>
                    <a:lnTo>
                      <a:pt x="3394" y="3855"/>
                    </a:lnTo>
                    <a:lnTo>
                      <a:pt x="3404" y="3823"/>
                    </a:lnTo>
                    <a:lnTo>
                      <a:pt x="3418" y="3793"/>
                    </a:lnTo>
                    <a:lnTo>
                      <a:pt x="3452" y="3740"/>
                    </a:lnTo>
                    <a:lnTo>
                      <a:pt x="1088" y="3740"/>
                    </a:lnTo>
                    <a:lnTo>
                      <a:pt x="1045" y="3734"/>
                    </a:lnTo>
                    <a:lnTo>
                      <a:pt x="1003" y="3720"/>
                    </a:lnTo>
                    <a:lnTo>
                      <a:pt x="967" y="3698"/>
                    </a:lnTo>
                    <a:lnTo>
                      <a:pt x="939" y="3668"/>
                    </a:lnTo>
                    <a:lnTo>
                      <a:pt x="915" y="3632"/>
                    </a:lnTo>
                    <a:lnTo>
                      <a:pt x="901" y="3593"/>
                    </a:lnTo>
                    <a:lnTo>
                      <a:pt x="897" y="3549"/>
                    </a:lnTo>
                    <a:lnTo>
                      <a:pt x="901" y="3505"/>
                    </a:lnTo>
                    <a:lnTo>
                      <a:pt x="915" y="3465"/>
                    </a:lnTo>
                    <a:lnTo>
                      <a:pt x="939" y="3430"/>
                    </a:lnTo>
                    <a:lnTo>
                      <a:pt x="967" y="3400"/>
                    </a:lnTo>
                    <a:lnTo>
                      <a:pt x="1003" y="3378"/>
                    </a:lnTo>
                    <a:lnTo>
                      <a:pt x="1045" y="3362"/>
                    </a:lnTo>
                    <a:lnTo>
                      <a:pt x="1088" y="3358"/>
                    </a:lnTo>
                    <a:lnTo>
                      <a:pt x="3681" y="3358"/>
                    </a:lnTo>
                    <a:lnTo>
                      <a:pt x="3868" y="3046"/>
                    </a:lnTo>
                    <a:lnTo>
                      <a:pt x="3834" y="3066"/>
                    </a:lnTo>
                    <a:lnTo>
                      <a:pt x="3796" y="3080"/>
                    </a:lnTo>
                    <a:lnTo>
                      <a:pt x="3755" y="3084"/>
                    </a:lnTo>
                    <a:lnTo>
                      <a:pt x="1088" y="3084"/>
                    </a:lnTo>
                    <a:lnTo>
                      <a:pt x="1045" y="3078"/>
                    </a:lnTo>
                    <a:lnTo>
                      <a:pt x="1003" y="3064"/>
                    </a:lnTo>
                    <a:lnTo>
                      <a:pt x="967" y="3042"/>
                    </a:lnTo>
                    <a:lnTo>
                      <a:pt x="939" y="3012"/>
                    </a:lnTo>
                    <a:lnTo>
                      <a:pt x="915" y="2977"/>
                    </a:lnTo>
                    <a:lnTo>
                      <a:pt x="901" y="2937"/>
                    </a:lnTo>
                    <a:lnTo>
                      <a:pt x="897" y="2893"/>
                    </a:lnTo>
                    <a:lnTo>
                      <a:pt x="901" y="2849"/>
                    </a:lnTo>
                    <a:lnTo>
                      <a:pt x="915" y="2808"/>
                    </a:lnTo>
                    <a:lnTo>
                      <a:pt x="939" y="2774"/>
                    </a:lnTo>
                    <a:lnTo>
                      <a:pt x="967" y="2744"/>
                    </a:lnTo>
                    <a:lnTo>
                      <a:pt x="1003" y="2720"/>
                    </a:lnTo>
                    <a:lnTo>
                      <a:pt x="1045" y="2706"/>
                    </a:lnTo>
                    <a:lnTo>
                      <a:pt x="1088" y="2702"/>
                    </a:lnTo>
                    <a:lnTo>
                      <a:pt x="3755" y="2702"/>
                    </a:lnTo>
                    <a:lnTo>
                      <a:pt x="3798" y="2706"/>
                    </a:lnTo>
                    <a:lnTo>
                      <a:pt x="3838" y="2720"/>
                    </a:lnTo>
                    <a:lnTo>
                      <a:pt x="3874" y="2744"/>
                    </a:lnTo>
                    <a:lnTo>
                      <a:pt x="3904" y="2774"/>
                    </a:lnTo>
                    <a:lnTo>
                      <a:pt x="3926" y="2808"/>
                    </a:lnTo>
                    <a:lnTo>
                      <a:pt x="3942" y="2849"/>
                    </a:lnTo>
                    <a:lnTo>
                      <a:pt x="3946" y="2893"/>
                    </a:lnTo>
                    <a:lnTo>
                      <a:pt x="3946" y="2907"/>
                    </a:lnTo>
                    <a:lnTo>
                      <a:pt x="3944" y="2921"/>
                    </a:lnTo>
                    <a:lnTo>
                      <a:pt x="4282" y="2359"/>
                    </a:lnTo>
                    <a:lnTo>
                      <a:pt x="4282" y="759"/>
                    </a:lnTo>
                    <a:lnTo>
                      <a:pt x="382" y="759"/>
                    </a:lnTo>
                    <a:close/>
                    <a:moveTo>
                      <a:pt x="5872" y="453"/>
                    </a:moveTo>
                    <a:lnTo>
                      <a:pt x="5794" y="582"/>
                    </a:lnTo>
                    <a:lnTo>
                      <a:pt x="6029" y="723"/>
                    </a:lnTo>
                    <a:lnTo>
                      <a:pt x="6106" y="594"/>
                    </a:lnTo>
                    <a:lnTo>
                      <a:pt x="5872" y="453"/>
                    </a:lnTo>
                    <a:close/>
                    <a:moveTo>
                      <a:pt x="5798" y="0"/>
                    </a:moveTo>
                    <a:lnTo>
                      <a:pt x="5834" y="2"/>
                    </a:lnTo>
                    <a:lnTo>
                      <a:pt x="5872" y="12"/>
                    </a:lnTo>
                    <a:lnTo>
                      <a:pt x="5905" y="28"/>
                    </a:lnTo>
                    <a:lnTo>
                      <a:pt x="6467" y="364"/>
                    </a:lnTo>
                    <a:lnTo>
                      <a:pt x="6502" y="391"/>
                    </a:lnTo>
                    <a:lnTo>
                      <a:pt x="6528" y="425"/>
                    </a:lnTo>
                    <a:lnTo>
                      <a:pt x="6548" y="461"/>
                    </a:lnTo>
                    <a:lnTo>
                      <a:pt x="6558" y="503"/>
                    </a:lnTo>
                    <a:lnTo>
                      <a:pt x="6558" y="544"/>
                    </a:lnTo>
                    <a:lnTo>
                      <a:pt x="6550" y="586"/>
                    </a:lnTo>
                    <a:lnTo>
                      <a:pt x="6532" y="626"/>
                    </a:lnTo>
                    <a:lnTo>
                      <a:pt x="4664" y="3736"/>
                    </a:lnTo>
                    <a:lnTo>
                      <a:pt x="4664" y="5947"/>
                    </a:lnTo>
                    <a:lnTo>
                      <a:pt x="4658" y="5991"/>
                    </a:lnTo>
                    <a:lnTo>
                      <a:pt x="4644" y="6031"/>
                    </a:lnTo>
                    <a:lnTo>
                      <a:pt x="4622" y="6067"/>
                    </a:lnTo>
                    <a:lnTo>
                      <a:pt x="4592" y="6096"/>
                    </a:lnTo>
                    <a:lnTo>
                      <a:pt x="4556" y="6120"/>
                    </a:lnTo>
                    <a:lnTo>
                      <a:pt x="4517" y="6134"/>
                    </a:lnTo>
                    <a:lnTo>
                      <a:pt x="4473" y="6138"/>
                    </a:lnTo>
                    <a:lnTo>
                      <a:pt x="191" y="6138"/>
                    </a:lnTo>
                    <a:lnTo>
                      <a:pt x="147" y="6134"/>
                    </a:lnTo>
                    <a:lnTo>
                      <a:pt x="107" y="6120"/>
                    </a:lnTo>
                    <a:lnTo>
                      <a:pt x="72" y="6096"/>
                    </a:lnTo>
                    <a:lnTo>
                      <a:pt x="42" y="6067"/>
                    </a:lnTo>
                    <a:lnTo>
                      <a:pt x="20" y="6031"/>
                    </a:lnTo>
                    <a:lnTo>
                      <a:pt x="6" y="5991"/>
                    </a:lnTo>
                    <a:lnTo>
                      <a:pt x="0" y="5947"/>
                    </a:lnTo>
                    <a:lnTo>
                      <a:pt x="0" y="568"/>
                    </a:lnTo>
                    <a:lnTo>
                      <a:pt x="6" y="525"/>
                    </a:lnTo>
                    <a:lnTo>
                      <a:pt x="20" y="483"/>
                    </a:lnTo>
                    <a:lnTo>
                      <a:pt x="42" y="449"/>
                    </a:lnTo>
                    <a:lnTo>
                      <a:pt x="72" y="419"/>
                    </a:lnTo>
                    <a:lnTo>
                      <a:pt x="107" y="395"/>
                    </a:lnTo>
                    <a:lnTo>
                      <a:pt x="147" y="382"/>
                    </a:lnTo>
                    <a:lnTo>
                      <a:pt x="191" y="378"/>
                    </a:lnTo>
                    <a:lnTo>
                      <a:pt x="4473" y="378"/>
                    </a:lnTo>
                    <a:lnTo>
                      <a:pt x="4517" y="382"/>
                    </a:lnTo>
                    <a:lnTo>
                      <a:pt x="4556" y="395"/>
                    </a:lnTo>
                    <a:lnTo>
                      <a:pt x="4592" y="419"/>
                    </a:lnTo>
                    <a:lnTo>
                      <a:pt x="4622" y="449"/>
                    </a:lnTo>
                    <a:lnTo>
                      <a:pt x="4644" y="483"/>
                    </a:lnTo>
                    <a:lnTo>
                      <a:pt x="4658" y="525"/>
                    </a:lnTo>
                    <a:lnTo>
                      <a:pt x="4664" y="568"/>
                    </a:lnTo>
                    <a:lnTo>
                      <a:pt x="4664" y="1723"/>
                    </a:lnTo>
                    <a:lnTo>
                      <a:pt x="5643" y="93"/>
                    </a:lnTo>
                    <a:lnTo>
                      <a:pt x="5665" y="64"/>
                    </a:lnTo>
                    <a:lnTo>
                      <a:pt x="5693" y="38"/>
                    </a:lnTo>
                    <a:lnTo>
                      <a:pt x="5724" y="18"/>
                    </a:lnTo>
                    <a:lnTo>
                      <a:pt x="5760" y="6"/>
                    </a:lnTo>
                    <a:lnTo>
                      <a:pt x="57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</p:grpSp>
      </p:grpSp>
      <p:sp>
        <p:nvSpPr>
          <p:cNvPr id="202" name="TextBox 201"/>
          <p:cNvSpPr txBox="1"/>
          <p:nvPr/>
        </p:nvSpPr>
        <p:spPr>
          <a:xfrm>
            <a:off x="959034" y="3740322"/>
            <a:ext cx="1521004" cy="4305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US" altLang="en-GB" sz="2800" dirty="0">
                <a:solidFill>
                  <a:schemeClr val="accent2"/>
                </a:solidFill>
              </a:rPr>
              <a:t>57.161%</a:t>
            </a:r>
            <a:endParaRPr lang="en-US" altLang="en-GB" sz="2800" dirty="0">
              <a:solidFill>
                <a:schemeClr val="accent2"/>
              </a:solidFill>
            </a:endParaRPr>
          </a:p>
        </p:txBody>
      </p:sp>
      <p:sp>
        <p:nvSpPr>
          <p:cNvPr id="212" name="TextBox 211"/>
          <p:cNvSpPr txBox="1"/>
          <p:nvPr/>
        </p:nvSpPr>
        <p:spPr>
          <a:xfrm>
            <a:off x="959034" y="5927610"/>
            <a:ext cx="1538046" cy="4305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US" altLang="en-GB" sz="2800" dirty="0">
                <a:solidFill>
                  <a:schemeClr val="accent3"/>
                </a:solidFill>
              </a:rPr>
              <a:t>42.839%</a:t>
            </a:r>
            <a:endParaRPr lang="en-US" altLang="en-GB" sz="2800" dirty="0">
              <a:solidFill>
                <a:schemeClr val="accent3"/>
              </a:solidFill>
            </a:endParaRPr>
          </a:p>
        </p:txBody>
      </p:sp>
      <p:cxnSp>
        <p:nvCxnSpPr>
          <p:cNvPr id="258" name="Straight Connector 257"/>
          <p:cNvCxnSpPr/>
          <p:nvPr/>
        </p:nvCxnSpPr>
        <p:spPr>
          <a:xfrm>
            <a:off x="261938" y="4689210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/>
          <p:cNvGrpSpPr/>
          <p:nvPr/>
        </p:nvGrpSpPr>
        <p:grpSpPr>
          <a:xfrm>
            <a:off x="261938" y="2961894"/>
            <a:ext cx="531730" cy="531730"/>
            <a:chOff x="4469581" y="499171"/>
            <a:chExt cx="531730" cy="531730"/>
          </a:xfrm>
        </p:grpSpPr>
        <p:sp>
          <p:nvSpPr>
            <p:cNvPr id="260" name="Oval 259"/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61" name="Group 260"/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262" name="Freeform 22"/>
              <p:cNvSpPr/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63" name="Freeform 23"/>
              <p:cNvSpPr/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64" name="Freeform 24"/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65" name="Freeform 25"/>
              <p:cNvSpPr/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66" name="Freeform 26"/>
              <p:cNvSpPr/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67" name="Freeform 27"/>
              <p:cNvSpPr/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68" name="Freeform 28"/>
              <p:cNvSpPr/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</p:grpSp>
      </p:grpSp>
      <p:grpSp>
        <p:nvGrpSpPr>
          <p:cNvPr id="269" name="Group 268"/>
          <p:cNvGrpSpPr/>
          <p:nvPr/>
        </p:nvGrpSpPr>
        <p:grpSpPr>
          <a:xfrm>
            <a:off x="261938" y="5145654"/>
            <a:ext cx="531730" cy="531730"/>
            <a:chOff x="8307290" y="499171"/>
            <a:chExt cx="531730" cy="531730"/>
          </a:xfrm>
        </p:grpSpPr>
        <p:sp>
          <p:nvSpPr>
            <p:cNvPr id="270" name="Oval 269"/>
            <p:cNvSpPr/>
            <p:nvPr/>
          </p:nvSpPr>
          <p:spPr>
            <a:xfrm>
              <a:off x="8307290" y="499171"/>
              <a:ext cx="531730" cy="5317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71" name="Group 270"/>
            <p:cNvGrpSpPr/>
            <p:nvPr/>
          </p:nvGrpSpPr>
          <p:grpSpPr>
            <a:xfrm>
              <a:off x="8462093" y="625055"/>
              <a:ext cx="222124" cy="251542"/>
              <a:chOff x="9328088" y="2706114"/>
              <a:chExt cx="561491" cy="635854"/>
            </a:xfrm>
            <a:solidFill>
              <a:schemeClr val="bg1"/>
            </a:solidFill>
          </p:grpSpPr>
          <p:sp>
            <p:nvSpPr>
              <p:cNvPr id="272" name="Freeform 25"/>
              <p:cNvSpPr/>
              <p:nvPr/>
            </p:nvSpPr>
            <p:spPr bwMode="auto">
              <a:xfrm flipH="1">
                <a:off x="9732523" y="3172463"/>
                <a:ext cx="130147" cy="169505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73" name="Freeform 26"/>
              <p:cNvSpPr/>
              <p:nvPr/>
            </p:nvSpPr>
            <p:spPr bwMode="auto">
              <a:xfrm flipH="1">
                <a:off x="9530480" y="3081325"/>
                <a:ext cx="130147" cy="260643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74" name="Freeform 27"/>
              <p:cNvSpPr/>
              <p:nvPr/>
            </p:nvSpPr>
            <p:spPr bwMode="auto">
              <a:xfrm flipH="1">
                <a:off x="9328088" y="2977068"/>
                <a:ext cx="130497" cy="364900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grpSp>
            <p:nvGrpSpPr>
              <p:cNvPr id="275" name="Group 274"/>
              <p:cNvGrpSpPr/>
              <p:nvPr/>
            </p:nvGrpSpPr>
            <p:grpSpPr>
              <a:xfrm>
                <a:off x="9708353" y="2952232"/>
                <a:ext cx="181226" cy="181400"/>
                <a:chOff x="9687916" y="2768554"/>
                <a:chExt cx="181226" cy="181400"/>
              </a:xfrm>
              <a:grpFill/>
            </p:grpSpPr>
            <p:grpSp>
              <p:nvGrpSpPr>
                <p:cNvPr id="277" name="Group 276"/>
                <p:cNvGrpSpPr/>
                <p:nvPr/>
              </p:nvGrpSpPr>
              <p:grpSpPr>
                <a:xfrm>
                  <a:off x="9757363" y="2819633"/>
                  <a:ext cx="44257" cy="78018"/>
                  <a:chOff x="9757363" y="2819633"/>
                  <a:chExt cx="44257" cy="78018"/>
                </a:xfrm>
                <a:grpFill/>
              </p:grpSpPr>
              <p:sp>
                <p:nvSpPr>
                  <p:cNvPr id="279" name="Freeform 22"/>
                  <p:cNvSpPr/>
                  <p:nvPr/>
                </p:nvSpPr>
                <p:spPr bwMode="auto">
                  <a:xfrm>
                    <a:off x="9783252" y="2867913"/>
                    <a:ext cx="18368" cy="29738"/>
                  </a:xfrm>
                  <a:custGeom>
                    <a:avLst/>
                    <a:gdLst>
                      <a:gd name="T0" fmla="*/ 0 w 212"/>
                      <a:gd name="T1" fmla="*/ 0 h 339"/>
                      <a:gd name="T2" fmla="*/ 32 w 212"/>
                      <a:gd name="T3" fmla="*/ 8 h 339"/>
                      <a:gd name="T4" fmla="*/ 64 w 212"/>
                      <a:gd name="T5" fmla="*/ 16 h 339"/>
                      <a:gd name="T6" fmla="*/ 96 w 212"/>
                      <a:gd name="T7" fmla="*/ 28 h 339"/>
                      <a:gd name="T8" fmla="*/ 128 w 212"/>
                      <a:gd name="T9" fmla="*/ 42 h 339"/>
                      <a:gd name="T10" fmla="*/ 154 w 212"/>
                      <a:gd name="T11" fmla="*/ 58 h 339"/>
                      <a:gd name="T12" fmla="*/ 178 w 212"/>
                      <a:gd name="T13" fmla="*/ 80 h 339"/>
                      <a:gd name="T14" fmla="*/ 196 w 212"/>
                      <a:gd name="T15" fmla="*/ 106 h 339"/>
                      <a:gd name="T16" fmla="*/ 208 w 212"/>
                      <a:gd name="T17" fmla="*/ 136 h 339"/>
                      <a:gd name="T18" fmla="*/ 212 w 212"/>
                      <a:gd name="T19" fmla="*/ 172 h 339"/>
                      <a:gd name="T20" fmla="*/ 208 w 212"/>
                      <a:gd name="T21" fmla="*/ 207 h 339"/>
                      <a:gd name="T22" fmla="*/ 198 w 212"/>
                      <a:gd name="T23" fmla="*/ 237 h 339"/>
                      <a:gd name="T24" fmla="*/ 180 w 212"/>
                      <a:gd name="T25" fmla="*/ 263 h 339"/>
                      <a:gd name="T26" fmla="*/ 158 w 212"/>
                      <a:gd name="T27" fmla="*/ 285 h 339"/>
                      <a:gd name="T28" fmla="*/ 132 w 212"/>
                      <a:gd name="T29" fmla="*/ 303 h 339"/>
                      <a:gd name="T30" fmla="*/ 102 w 212"/>
                      <a:gd name="T31" fmla="*/ 317 h 339"/>
                      <a:gd name="T32" fmla="*/ 70 w 212"/>
                      <a:gd name="T33" fmla="*/ 329 h 339"/>
                      <a:gd name="T34" fmla="*/ 36 w 212"/>
                      <a:gd name="T35" fmla="*/ 335 h 339"/>
                      <a:gd name="T36" fmla="*/ 0 w 212"/>
                      <a:gd name="T37" fmla="*/ 339 h 339"/>
                      <a:gd name="T38" fmla="*/ 0 w 212"/>
                      <a:gd name="T39" fmla="*/ 0 h 3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12" h="339">
                        <a:moveTo>
                          <a:pt x="0" y="0"/>
                        </a:moveTo>
                        <a:lnTo>
                          <a:pt x="32" y="8"/>
                        </a:lnTo>
                        <a:lnTo>
                          <a:pt x="64" y="16"/>
                        </a:lnTo>
                        <a:lnTo>
                          <a:pt x="96" y="28"/>
                        </a:lnTo>
                        <a:lnTo>
                          <a:pt x="128" y="42"/>
                        </a:lnTo>
                        <a:lnTo>
                          <a:pt x="154" y="58"/>
                        </a:lnTo>
                        <a:lnTo>
                          <a:pt x="178" y="80"/>
                        </a:lnTo>
                        <a:lnTo>
                          <a:pt x="196" y="106"/>
                        </a:lnTo>
                        <a:lnTo>
                          <a:pt x="208" y="136"/>
                        </a:lnTo>
                        <a:lnTo>
                          <a:pt x="212" y="172"/>
                        </a:lnTo>
                        <a:lnTo>
                          <a:pt x="208" y="207"/>
                        </a:lnTo>
                        <a:lnTo>
                          <a:pt x="198" y="237"/>
                        </a:lnTo>
                        <a:lnTo>
                          <a:pt x="180" y="263"/>
                        </a:lnTo>
                        <a:lnTo>
                          <a:pt x="158" y="285"/>
                        </a:lnTo>
                        <a:lnTo>
                          <a:pt x="132" y="303"/>
                        </a:lnTo>
                        <a:lnTo>
                          <a:pt x="102" y="317"/>
                        </a:lnTo>
                        <a:lnTo>
                          <a:pt x="70" y="329"/>
                        </a:lnTo>
                        <a:lnTo>
                          <a:pt x="36" y="335"/>
                        </a:lnTo>
                        <a:lnTo>
                          <a:pt x="0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en-IN"/>
                  </a:p>
                </p:txBody>
              </p:sp>
              <p:sp>
                <p:nvSpPr>
                  <p:cNvPr id="280" name="Freeform 23"/>
                  <p:cNvSpPr/>
                  <p:nvPr/>
                </p:nvSpPr>
                <p:spPr bwMode="auto">
                  <a:xfrm>
                    <a:off x="9757363" y="2819633"/>
                    <a:ext cx="16968" cy="26939"/>
                  </a:xfrm>
                  <a:custGeom>
                    <a:avLst/>
                    <a:gdLst>
                      <a:gd name="T0" fmla="*/ 194 w 194"/>
                      <a:gd name="T1" fmla="*/ 0 h 307"/>
                      <a:gd name="T2" fmla="*/ 194 w 194"/>
                      <a:gd name="T3" fmla="*/ 307 h 307"/>
                      <a:gd name="T4" fmla="*/ 142 w 194"/>
                      <a:gd name="T5" fmla="*/ 295 h 307"/>
                      <a:gd name="T6" fmla="*/ 100 w 194"/>
                      <a:gd name="T7" fmla="*/ 279 h 307"/>
                      <a:gd name="T8" fmla="*/ 64 w 194"/>
                      <a:gd name="T9" fmla="*/ 259 h 307"/>
                      <a:gd name="T10" fmla="*/ 36 w 194"/>
                      <a:gd name="T11" fmla="*/ 237 h 307"/>
                      <a:gd name="T12" fmla="*/ 16 w 194"/>
                      <a:gd name="T13" fmla="*/ 211 h 307"/>
                      <a:gd name="T14" fmla="*/ 4 w 194"/>
                      <a:gd name="T15" fmla="*/ 179 h 307"/>
                      <a:gd name="T16" fmla="*/ 0 w 194"/>
                      <a:gd name="T17" fmla="*/ 146 h 307"/>
                      <a:gd name="T18" fmla="*/ 6 w 194"/>
                      <a:gd name="T19" fmla="*/ 114 h 307"/>
                      <a:gd name="T20" fmla="*/ 18 w 194"/>
                      <a:gd name="T21" fmla="*/ 86 h 307"/>
                      <a:gd name="T22" fmla="*/ 40 w 194"/>
                      <a:gd name="T23" fmla="*/ 58 h 307"/>
                      <a:gd name="T24" fmla="*/ 68 w 194"/>
                      <a:gd name="T25" fmla="*/ 36 h 307"/>
                      <a:gd name="T26" fmla="*/ 104 w 194"/>
                      <a:gd name="T27" fmla="*/ 18 h 307"/>
                      <a:gd name="T28" fmla="*/ 146 w 194"/>
                      <a:gd name="T29" fmla="*/ 6 h 307"/>
                      <a:gd name="T30" fmla="*/ 194 w 194"/>
                      <a:gd name="T31" fmla="*/ 0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94" h="307">
                        <a:moveTo>
                          <a:pt x="194" y="0"/>
                        </a:moveTo>
                        <a:lnTo>
                          <a:pt x="194" y="307"/>
                        </a:lnTo>
                        <a:lnTo>
                          <a:pt x="142" y="295"/>
                        </a:lnTo>
                        <a:lnTo>
                          <a:pt x="100" y="279"/>
                        </a:lnTo>
                        <a:lnTo>
                          <a:pt x="64" y="259"/>
                        </a:lnTo>
                        <a:lnTo>
                          <a:pt x="36" y="237"/>
                        </a:lnTo>
                        <a:lnTo>
                          <a:pt x="16" y="211"/>
                        </a:lnTo>
                        <a:lnTo>
                          <a:pt x="4" y="179"/>
                        </a:lnTo>
                        <a:lnTo>
                          <a:pt x="0" y="146"/>
                        </a:lnTo>
                        <a:lnTo>
                          <a:pt x="6" y="114"/>
                        </a:lnTo>
                        <a:lnTo>
                          <a:pt x="18" y="86"/>
                        </a:lnTo>
                        <a:lnTo>
                          <a:pt x="40" y="58"/>
                        </a:lnTo>
                        <a:lnTo>
                          <a:pt x="68" y="36"/>
                        </a:lnTo>
                        <a:lnTo>
                          <a:pt x="104" y="18"/>
                        </a:lnTo>
                        <a:lnTo>
                          <a:pt x="146" y="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en-IN"/>
                  </a:p>
                </p:txBody>
              </p:sp>
            </p:grpSp>
            <p:sp>
              <p:nvSpPr>
                <p:cNvPr id="278" name="Freeform 24"/>
                <p:cNvSpPr>
                  <a:spLocks noEditPoints="1"/>
                </p:cNvSpPr>
                <p:nvPr/>
              </p:nvSpPr>
              <p:spPr bwMode="auto">
                <a:xfrm>
                  <a:off x="9687916" y="2768554"/>
                  <a:ext cx="181226" cy="181400"/>
                </a:xfrm>
                <a:custGeom>
                  <a:avLst/>
                  <a:gdLst>
                    <a:gd name="T0" fmla="*/ 993 w 2073"/>
                    <a:gd name="T1" fmla="*/ 297 h 2073"/>
                    <a:gd name="T2" fmla="*/ 875 w 2073"/>
                    <a:gd name="T3" fmla="*/ 425 h 2073"/>
                    <a:gd name="T4" fmla="*/ 684 w 2073"/>
                    <a:gd name="T5" fmla="*/ 522 h 2073"/>
                    <a:gd name="T6" fmla="*/ 584 w 2073"/>
                    <a:gd name="T7" fmla="*/ 708 h 2073"/>
                    <a:gd name="T8" fmla="*/ 620 w 2073"/>
                    <a:gd name="T9" fmla="*/ 919 h 2073"/>
                    <a:gd name="T10" fmla="*/ 787 w 2073"/>
                    <a:gd name="T11" fmla="*/ 1058 h 2073"/>
                    <a:gd name="T12" fmla="*/ 989 w 2073"/>
                    <a:gd name="T13" fmla="*/ 1475 h 2073"/>
                    <a:gd name="T14" fmla="*/ 845 w 2073"/>
                    <a:gd name="T15" fmla="*/ 1431 h 2073"/>
                    <a:gd name="T16" fmla="*/ 789 w 2073"/>
                    <a:gd name="T17" fmla="*/ 1347 h 2073"/>
                    <a:gd name="T18" fmla="*/ 754 w 2073"/>
                    <a:gd name="T19" fmla="*/ 1264 h 2073"/>
                    <a:gd name="T20" fmla="*/ 662 w 2073"/>
                    <a:gd name="T21" fmla="*/ 1226 h 2073"/>
                    <a:gd name="T22" fmla="*/ 568 w 2073"/>
                    <a:gd name="T23" fmla="*/ 1276 h 2073"/>
                    <a:gd name="T24" fmla="*/ 570 w 2073"/>
                    <a:gd name="T25" fmla="*/ 1411 h 2073"/>
                    <a:gd name="T26" fmla="*/ 684 w 2073"/>
                    <a:gd name="T27" fmla="*/ 1557 h 2073"/>
                    <a:gd name="T28" fmla="*/ 913 w 2073"/>
                    <a:gd name="T29" fmla="*/ 1644 h 2073"/>
                    <a:gd name="T30" fmla="*/ 1003 w 2073"/>
                    <a:gd name="T31" fmla="*/ 1796 h 2073"/>
                    <a:gd name="T32" fmla="*/ 1076 w 2073"/>
                    <a:gd name="T33" fmla="*/ 1796 h 2073"/>
                    <a:gd name="T34" fmla="*/ 1158 w 2073"/>
                    <a:gd name="T35" fmla="*/ 1644 h 2073"/>
                    <a:gd name="T36" fmla="*/ 1379 w 2073"/>
                    <a:gd name="T37" fmla="*/ 1565 h 2073"/>
                    <a:gd name="T38" fmla="*/ 1501 w 2073"/>
                    <a:gd name="T39" fmla="*/ 1403 h 2073"/>
                    <a:gd name="T40" fmla="*/ 1505 w 2073"/>
                    <a:gd name="T41" fmla="*/ 1180 h 2073"/>
                    <a:gd name="T42" fmla="*/ 1407 w 2073"/>
                    <a:gd name="T43" fmla="*/ 1033 h 2073"/>
                    <a:gd name="T44" fmla="*/ 1242 w 2073"/>
                    <a:gd name="T45" fmla="*/ 949 h 2073"/>
                    <a:gd name="T46" fmla="*/ 1090 w 2073"/>
                    <a:gd name="T47" fmla="*/ 584 h 2073"/>
                    <a:gd name="T48" fmla="*/ 1228 w 2073"/>
                    <a:gd name="T49" fmla="*/ 634 h 2073"/>
                    <a:gd name="T50" fmla="*/ 1306 w 2073"/>
                    <a:gd name="T51" fmla="*/ 724 h 2073"/>
                    <a:gd name="T52" fmla="*/ 1391 w 2073"/>
                    <a:gd name="T53" fmla="*/ 771 h 2073"/>
                    <a:gd name="T54" fmla="*/ 1485 w 2073"/>
                    <a:gd name="T55" fmla="*/ 722 h 2073"/>
                    <a:gd name="T56" fmla="*/ 1479 w 2073"/>
                    <a:gd name="T57" fmla="*/ 588 h 2073"/>
                    <a:gd name="T58" fmla="*/ 1345 w 2073"/>
                    <a:gd name="T59" fmla="*/ 474 h 2073"/>
                    <a:gd name="T60" fmla="*/ 1168 w 2073"/>
                    <a:gd name="T61" fmla="*/ 417 h 2073"/>
                    <a:gd name="T62" fmla="*/ 1086 w 2073"/>
                    <a:gd name="T63" fmla="*/ 297 h 2073"/>
                    <a:gd name="T64" fmla="*/ 1037 w 2073"/>
                    <a:gd name="T65" fmla="*/ 0 h 2073"/>
                    <a:gd name="T66" fmla="*/ 1465 w 2073"/>
                    <a:gd name="T67" fmla="*/ 94 h 2073"/>
                    <a:gd name="T68" fmla="*/ 1806 w 2073"/>
                    <a:gd name="T69" fmla="*/ 343 h 2073"/>
                    <a:gd name="T70" fmla="*/ 2019 w 2073"/>
                    <a:gd name="T71" fmla="*/ 710 h 2073"/>
                    <a:gd name="T72" fmla="*/ 2067 w 2073"/>
                    <a:gd name="T73" fmla="*/ 1150 h 2073"/>
                    <a:gd name="T74" fmla="*/ 1932 w 2073"/>
                    <a:gd name="T75" fmla="*/ 1561 h 2073"/>
                    <a:gd name="T76" fmla="*/ 1648 w 2073"/>
                    <a:gd name="T77" fmla="*/ 1874 h 2073"/>
                    <a:gd name="T78" fmla="*/ 1258 w 2073"/>
                    <a:gd name="T79" fmla="*/ 2049 h 2073"/>
                    <a:gd name="T80" fmla="*/ 813 w 2073"/>
                    <a:gd name="T81" fmla="*/ 2049 h 2073"/>
                    <a:gd name="T82" fmla="*/ 425 w 2073"/>
                    <a:gd name="T83" fmla="*/ 1874 h 2073"/>
                    <a:gd name="T84" fmla="*/ 142 w 2073"/>
                    <a:gd name="T85" fmla="*/ 1561 h 2073"/>
                    <a:gd name="T86" fmla="*/ 6 w 2073"/>
                    <a:gd name="T87" fmla="*/ 1150 h 2073"/>
                    <a:gd name="T88" fmla="*/ 52 w 2073"/>
                    <a:gd name="T89" fmla="*/ 710 h 2073"/>
                    <a:gd name="T90" fmla="*/ 267 w 2073"/>
                    <a:gd name="T91" fmla="*/ 343 h 2073"/>
                    <a:gd name="T92" fmla="*/ 608 w 2073"/>
                    <a:gd name="T93" fmla="*/ 94 h 2073"/>
                    <a:gd name="T94" fmla="*/ 1037 w 2073"/>
                    <a:gd name="T95" fmla="*/ 0 h 20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73" h="2073">
                      <a:moveTo>
                        <a:pt x="1039" y="259"/>
                      </a:moveTo>
                      <a:lnTo>
                        <a:pt x="1019" y="265"/>
                      </a:lnTo>
                      <a:lnTo>
                        <a:pt x="1003" y="277"/>
                      </a:lnTo>
                      <a:lnTo>
                        <a:pt x="993" y="297"/>
                      </a:lnTo>
                      <a:lnTo>
                        <a:pt x="989" y="317"/>
                      </a:lnTo>
                      <a:lnTo>
                        <a:pt x="989" y="409"/>
                      </a:lnTo>
                      <a:lnTo>
                        <a:pt x="931" y="415"/>
                      </a:lnTo>
                      <a:lnTo>
                        <a:pt x="875" y="425"/>
                      </a:lnTo>
                      <a:lnTo>
                        <a:pt x="821" y="441"/>
                      </a:lnTo>
                      <a:lnTo>
                        <a:pt x="771" y="460"/>
                      </a:lnTo>
                      <a:lnTo>
                        <a:pt x="726" y="488"/>
                      </a:lnTo>
                      <a:lnTo>
                        <a:pt x="684" y="522"/>
                      </a:lnTo>
                      <a:lnTo>
                        <a:pt x="650" y="560"/>
                      </a:lnTo>
                      <a:lnTo>
                        <a:pt x="620" y="604"/>
                      </a:lnTo>
                      <a:lnTo>
                        <a:pt x="598" y="654"/>
                      </a:lnTo>
                      <a:lnTo>
                        <a:pt x="584" y="708"/>
                      </a:lnTo>
                      <a:lnTo>
                        <a:pt x="580" y="769"/>
                      </a:lnTo>
                      <a:lnTo>
                        <a:pt x="584" y="823"/>
                      </a:lnTo>
                      <a:lnTo>
                        <a:pt x="598" y="873"/>
                      </a:lnTo>
                      <a:lnTo>
                        <a:pt x="620" y="919"/>
                      </a:lnTo>
                      <a:lnTo>
                        <a:pt x="652" y="961"/>
                      </a:lnTo>
                      <a:lnTo>
                        <a:pt x="690" y="997"/>
                      </a:lnTo>
                      <a:lnTo>
                        <a:pt x="736" y="1029"/>
                      </a:lnTo>
                      <a:lnTo>
                        <a:pt x="787" y="1058"/>
                      </a:lnTo>
                      <a:lnTo>
                        <a:pt x="849" y="1080"/>
                      </a:lnTo>
                      <a:lnTo>
                        <a:pt x="915" y="1100"/>
                      </a:lnTo>
                      <a:lnTo>
                        <a:pt x="989" y="1116"/>
                      </a:lnTo>
                      <a:lnTo>
                        <a:pt x="989" y="1475"/>
                      </a:lnTo>
                      <a:lnTo>
                        <a:pt x="941" y="1471"/>
                      </a:lnTo>
                      <a:lnTo>
                        <a:pt x="901" y="1461"/>
                      </a:lnTo>
                      <a:lnTo>
                        <a:pt x="869" y="1447"/>
                      </a:lnTo>
                      <a:lnTo>
                        <a:pt x="845" y="1431"/>
                      </a:lnTo>
                      <a:lnTo>
                        <a:pt x="825" y="1413"/>
                      </a:lnTo>
                      <a:lnTo>
                        <a:pt x="811" y="1391"/>
                      </a:lnTo>
                      <a:lnTo>
                        <a:pt x="799" y="1369"/>
                      </a:lnTo>
                      <a:lnTo>
                        <a:pt x="789" y="1347"/>
                      </a:lnTo>
                      <a:lnTo>
                        <a:pt x="781" y="1324"/>
                      </a:lnTo>
                      <a:lnTo>
                        <a:pt x="773" y="1302"/>
                      </a:lnTo>
                      <a:lnTo>
                        <a:pt x="765" y="1282"/>
                      </a:lnTo>
                      <a:lnTo>
                        <a:pt x="754" y="1264"/>
                      </a:lnTo>
                      <a:lnTo>
                        <a:pt x="738" y="1248"/>
                      </a:lnTo>
                      <a:lnTo>
                        <a:pt x="718" y="1238"/>
                      </a:lnTo>
                      <a:lnTo>
                        <a:pt x="694" y="1230"/>
                      </a:lnTo>
                      <a:lnTo>
                        <a:pt x="662" y="1226"/>
                      </a:lnTo>
                      <a:lnTo>
                        <a:pt x="630" y="1230"/>
                      </a:lnTo>
                      <a:lnTo>
                        <a:pt x="604" y="1240"/>
                      </a:lnTo>
                      <a:lnTo>
                        <a:pt x="584" y="1256"/>
                      </a:lnTo>
                      <a:lnTo>
                        <a:pt x="568" y="1276"/>
                      </a:lnTo>
                      <a:lnTo>
                        <a:pt x="558" y="1304"/>
                      </a:lnTo>
                      <a:lnTo>
                        <a:pt x="554" y="1336"/>
                      </a:lnTo>
                      <a:lnTo>
                        <a:pt x="558" y="1373"/>
                      </a:lnTo>
                      <a:lnTo>
                        <a:pt x="570" y="1411"/>
                      </a:lnTo>
                      <a:lnTo>
                        <a:pt x="586" y="1449"/>
                      </a:lnTo>
                      <a:lnTo>
                        <a:pt x="612" y="1487"/>
                      </a:lnTo>
                      <a:lnTo>
                        <a:pt x="644" y="1523"/>
                      </a:lnTo>
                      <a:lnTo>
                        <a:pt x="684" y="1557"/>
                      </a:lnTo>
                      <a:lnTo>
                        <a:pt x="730" y="1587"/>
                      </a:lnTo>
                      <a:lnTo>
                        <a:pt x="783" y="1613"/>
                      </a:lnTo>
                      <a:lnTo>
                        <a:pt x="845" y="1631"/>
                      </a:lnTo>
                      <a:lnTo>
                        <a:pt x="913" y="1644"/>
                      </a:lnTo>
                      <a:lnTo>
                        <a:pt x="989" y="1650"/>
                      </a:lnTo>
                      <a:lnTo>
                        <a:pt x="989" y="1756"/>
                      </a:lnTo>
                      <a:lnTo>
                        <a:pt x="993" y="1778"/>
                      </a:lnTo>
                      <a:lnTo>
                        <a:pt x="1003" y="1796"/>
                      </a:lnTo>
                      <a:lnTo>
                        <a:pt x="1019" y="1810"/>
                      </a:lnTo>
                      <a:lnTo>
                        <a:pt x="1041" y="1816"/>
                      </a:lnTo>
                      <a:lnTo>
                        <a:pt x="1060" y="1810"/>
                      </a:lnTo>
                      <a:lnTo>
                        <a:pt x="1076" y="1796"/>
                      </a:lnTo>
                      <a:lnTo>
                        <a:pt x="1086" y="1778"/>
                      </a:lnTo>
                      <a:lnTo>
                        <a:pt x="1090" y="1756"/>
                      </a:lnTo>
                      <a:lnTo>
                        <a:pt x="1090" y="1650"/>
                      </a:lnTo>
                      <a:lnTo>
                        <a:pt x="1158" y="1644"/>
                      </a:lnTo>
                      <a:lnTo>
                        <a:pt x="1222" y="1633"/>
                      </a:lnTo>
                      <a:lnTo>
                        <a:pt x="1280" y="1615"/>
                      </a:lnTo>
                      <a:lnTo>
                        <a:pt x="1332" y="1593"/>
                      </a:lnTo>
                      <a:lnTo>
                        <a:pt x="1379" y="1565"/>
                      </a:lnTo>
                      <a:lnTo>
                        <a:pt x="1419" y="1533"/>
                      </a:lnTo>
                      <a:lnTo>
                        <a:pt x="1455" y="1495"/>
                      </a:lnTo>
                      <a:lnTo>
                        <a:pt x="1481" y="1451"/>
                      </a:lnTo>
                      <a:lnTo>
                        <a:pt x="1501" y="1403"/>
                      </a:lnTo>
                      <a:lnTo>
                        <a:pt x="1513" y="1349"/>
                      </a:lnTo>
                      <a:lnTo>
                        <a:pt x="1519" y="1290"/>
                      </a:lnTo>
                      <a:lnTo>
                        <a:pt x="1515" y="1232"/>
                      </a:lnTo>
                      <a:lnTo>
                        <a:pt x="1505" y="1180"/>
                      </a:lnTo>
                      <a:lnTo>
                        <a:pt x="1489" y="1136"/>
                      </a:lnTo>
                      <a:lnTo>
                        <a:pt x="1467" y="1096"/>
                      </a:lnTo>
                      <a:lnTo>
                        <a:pt x="1439" y="1062"/>
                      </a:lnTo>
                      <a:lnTo>
                        <a:pt x="1407" y="1033"/>
                      </a:lnTo>
                      <a:lnTo>
                        <a:pt x="1371" y="1007"/>
                      </a:lnTo>
                      <a:lnTo>
                        <a:pt x="1332" y="985"/>
                      </a:lnTo>
                      <a:lnTo>
                        <a:pt x="1288" y="965"/>
                      </a:lnTo>
                      <a:lnTo>
                        <a:pt x="1242" y="949"/>
                      </a:lnTo>
                      <a:lnTo>
                        <a:pt x="1194" y="935"/>
                      </a:lnTo>
                      <a:lnTo>
                        <a:pt x="1142" y="921"/>
                      </a:lnTo>
                      <a:lnTo>
                        <a:pt x="1090" y="909"/>
                      </a:lnTo>
                      <a:lnTo>
                        <a:pt x="1090" y="584"/>
                      </a:lnTo>
                      <a:lnTo>
                        <a:pt x="1134" y="588"/>
                      </a:lnTo>
                      <a:lnTo>
                        <a:pt x="1172" y="600"/>
                      </a:lnTo>
                      <a:lnTo>
                        <a:pt x="1202" y="614"/>
                      </a:lnTo>
                      <a:lnTo>
                        <a:pt x="1228" y="634"/>
                      </a:lnTo>
                      <a:lnTo>
                        <a:pt x="1252" y="656"/>
                      </a:lnTo>
                      <a:lnTo>
                        <a:pt x="1270" y="680"/>
                      </a:lnTo>
                      <a:lnTo>
                        <a:pt x="1288" y="702"/>
                      </a:lnTo>
                      <a:lnTo>
                        <a:pt x="1306" y="724"/>
                      </a:lnTo>
                      <a:lnTo>
                        <a:pt x="1324" y="742"/>
                      </a:lnTo>
                      <a:lnTo>
                        <a:pt x="1343" y="757"/>
                      </a:lnTo>
                      <a:lnTo>
                        <a:pt x="1365" y="767"/>
                      </a:lnTo>
                      <a:lnTo>
                        <a:pt x="1391" y="771"/>
                      </a:lnTo>
                      <a:lnTo>
                        <a:pt x="1419" y="767"/>
                      </a:lnTo>
                      <a:lnTo>
                        <a:pt x="1445" y="757"/>
                      </a:lnTo>
                      <a:lnTo>
                        <a:pt x="1467" y="743"/>
                      </a:lnTo>
                      <a:lnTo>
                        <a:pt x="1485" y="722"/>
                      </a:lnTo>
                      <a:lnTo>
                        <a:pt x="1495" y="696"/>
                      </a:lnTo>
                      <a:lnTo>
                        <a:pt x="1499" y="664"/>
                      </a:lnTo>
                      <a:lnTo>
                        <a:pt x="1493" y="624"/>
                      </a:lnTo>
                      <a:lnTo>
                        <a:pt x="1479" y="588"/>
                      </a:lnTo>
                      <a:lnTo>
                        <a:pt x="1455" y="554"/>
                      </a:lnTo>
                      <a:lnTo>
                        <a:pt x="1423" y="524"/>
                      </a:lnTo>
                      <a:lnTo>
                        <a:pt x="1385" y="498"/>
                      </a:lnTo>
                      <a:lnTo>
                        <a:pt x="1345" y="474"/>
                      </a:lnTo>
                      <a:lnTo>
                        <a:pt x="1302" y="456"/>
                      </a:lnTo>
                      <a:lnTo>
                        <a:pt x="1256" y="439"/>
                      </a:lnTo>
                      <a:lnTo>
                        <a:pt x="1212" y="427"/>
                      </a:lnTo>
                      <a:lnTo>
                        <a:pt x="1168" y="417"/>
                      </a:lnTo>
                      <a:lnTo>
                        <a:pt x="1126" y="413"/>
                      </a:lnTo>
                      <a:lnTo>
                        <a:pt x="1090" y="409"/>
                      </a:lnTo>
                      <a:lnTo>
                        <a:pt x="1090" y="317"/>
                      </a:lnTo>
                      <a:lnTo>
                        <a:pt x="1086" y="297"/>
                      </a:lnTo>
                      <a:lnTo>
                        <a:pt x="1076" y="277"/>
                      </a:lnTo>
                      <a:lnTo>
                        <a:pt x="1060" y="265"/>
                      </a:lnTo>
                      <a:lnTo>
                        <a:pt x="1039" y="259"/>
                      </a:lnTo>
                      <a:close/>
                      <a:moveTo>
                        <a:pt x="1037" y="0"/>
                      </a:moveTo>
                      <a:lnTo>
                        <a:pt x="1148" y="6"/>
                      </a:lnTo>
                      <a:lnTo>
                        <a:pt x="1258" y="24"/>
                      </a:lnTo>
                      <a:lnTo>
                        <a:pt x="1363" y="54"/>
                      </a:lnTo>
                      <a:lnTo>
                        <a:pt x="1465" y="94"/>
                      </a:lnTo>
                      <a:lnTo>
                        <a:pt x="1559" y="142"/>
                      </a:lnTo>
                      <a:lnTo>
                        <a:pt x="1648" y="201"/>
                      </a:lnTo>
                      <a:lnTo>
                        <a:pt x="1730" y="267"/>
                      </a:lnTo>
                      <a:lnTo>
                        <a:pt x="1806" y="343"/>
                      </a:lnTo>
                      <a:lnTo>
                        <a:pt x="1874" y="425"/>
                      </a:lnTo>
                      <a:lnTo>
                        <a:pt x="1932" y="514"/>
                      </a:lnTo>
                      <a:lnTo>
                        <a:pt x="1981" y="610"/>
                      </a:lnTo>
                      <a:lnTo>
                        <a:pt x="2019" y="710"/>
                      </a:lnTo>
                      <a:lnTo>
                        <a:pt x="2049" y="815"/>
                      </a:lnTo>
                      <a:lnTo>
                        <a:pt x="2067" y="925"/>
                      </a:lnTo>
                      <a:lnTo>
                        <a:pt x="2073" y="1037"/>
                      </a:lnTo>
                      <a:lnTo>
                        <a:pt x="2067" y="1150"/>
                      </a:lnTo>
                      <a:lnTo>
                        <a:pt x="2049" y="1260"/>
                      </a:lnTo>
                      <a:lnTo>
                        <a:pt x="2021" y="1365"/>
                      </a:lnTo>
                      <a:lnTo>
                        <a:pt x="1981" y="1465"/>
                      </a:lnTo>
                      <a:lnTo>
                        <a:pt x="1932" y="1561"/>
                      </a:lnTo>
                      <a:lnTo>
                        <a:pt x="1874" y="1648"/>
                      </a:lnTo>
                      <a:lnTo>
                        <a:pt x="1806" y="1732"/>
                      </a:lnTo>
                      <a:lnTo>
                        <a:pt x="1730" y="1806"/>
                      </a:lnTo>
                      <a:lnTo>
                        <a:pt x="1648" y="1874"/>
                      </a:lnTo>
                      <a:lnTo>
                        <a:pt x="1559" y="1932"/>
                      </a:lnTo>
                      <a:lnTo>
                        <a:pt x="1465" y="1981"/>
                      </a:lnTo>
                      <a:lnTo>
                        <a:pt x="1363" y="2021"/>
                      </a:lnTo>
                      <a:lnTo>
                        <a:pt x="1258" y="2049"/>
                      </a:lnTo>
                      <a:lnTo>
                        <a:pt x="1148" y="2067"/>
                      </a:lnTo>
                      <a:lnTo>
                        <a:pt x="1037" y="2073"/>
                      </a:lnTo>
                      <a:lnTo>
                        <a:pt x="923" y="2067"/>
                      </a:lnTo>
                      <a:lnTo>
                        <a:pt x="813" y="2049"/>
                      </a:lnTo>
                      <a:lnTo>
                        <a:pt x="710" y="2021"/>
                      </a:lnTo>
                      <a:lnTo>
                        <a:pt x="608" y="1981"/>
                      </a:lnTo>
                      <a:lnTo>
                        <a:pt x="512" y="1932"/>
                      </a:lnTo>
                      <a:lnTo>
                        <a:pt x="425" y="1874"/>
                      </a:lnTo>
                      <a:lnTo>
                        <a:pt x="341" y="1806"/>
                      </a:lnTo>
                      <a:lnTo>
                        <a:pt x="267" y="1732"/>
                      </a:lnTo>
                      <a:lnTo>
                        <a:pt x="199" y="1648"/>
                      </a:lnTo>
                      <a:lnTo>
                        <a:pt x="142" y="1561"/>
                      </a:lnTo>
                      <a:lnTo>
                        <a:pt x="92" y="1465"/>
                      </a:lnTo>
                      <a:lnTo>
                        <a:pt x="52" y="1365"/>
                      </a:lnTo>
                      <a:lnTo>
                        <a:pt x="24" y="1260"/>
                      </a:lnTo>
                      <a:lnTo>
                        <a:pt x="6" y="1150"/>
                      </a:lnTo>
                      <a:lnTo>
                        <a:pt x="0" y="1037"/>
                      </a:lnTo>
                      <a:lnTo>
                        <a:pt x="6" y="925"/>
                      </a:lnTo>
                      <a:lnTo>
                        <a:pt x="24" y="815"/>
                      </a:lnTo>
                      <a:lnTo>
                        <a:pt x="52" y="710"/>
                      </a:lnTo>
                      <a:lnTo>
                        <a:pt x="92" y="610"/>
                      </a:lnTo>
                      <a:lnTo>
                        <a:pt x="142" y="514"/>
                      </a:lnTo>
                      <a:lnTo>
                        <a:pt x="199" y="425"/>
                      </a:lnTo>
                      <a:lnTo>
                        <a:pt x="267" y="343"/>
                      </a:lnTo>
                      <a:lnTo>
                        <a:pt x="341" y="267"/>
                      </a:lnTo>
                      <a:lnTo>
                        <a:pt x="425" y="201"/>
                      </a:lnTo>
                      <a:lnTo>
                        <a:pt x="512" y="142"/>
                      </a:lnTo>
                      <a:lnTo>
                        <a:pt x="608" y="94"/>
                      </a:lnTo>
                      <a:lnTo>
                        <a:pt x="710" y="54"/>
                      </a:lnTo>
                      <a:lnTo>
                        <a:pt x="813" y="24"/>
                      </a:lnTo>
                      <a:lnTo>
                        <a:pt x="923" y="6"/>
                      </a:lnTo>
                      <a:lnTo>
                        <a:pt x="103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IN"/>
                </a:p>
              </p:txBody>
            </p:sp>
          </p:grpSp>
          <p:sp>
            <p:nvSpPr>
              <p:cNvPr id="276" name="Freeform 28"/>
              <p:cNvSpPr/>
              <p:nvPr/>
            </p:nvSpPr>
            <p:spPr bwMode="auto">
              <a:xfrm rot="3305959">
                <a:off x="9350029" y="2781246"/>
                <a:ext cx="368924" cy="218660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</p:grpSp>
      </p:grpSp>
      <p:sp>
        <p:nvSpPr>
          <p:cNvPr id="281" name="TextBox 280"/>
          <p:cNvSpPr txBox="1"/>
          <p:nvPr/>
        </p:nvSpPr>
        <p:spPr>
          <a:xfrm>
            <a:off x="3247390" y="1090295"/>
            <a:ext cx="5006340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PHÂN BỐ LƯƠNG THEO THỂ LOẠI GIÁO VIÊN/NHÂN VIÊN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grpSp>
        <p:nvGrpSpPr>
          <p:cNvPr id="299" name="Group 298"/>
          <p:cNvGrpSpPr/>
          <p:nvPr/>
        </p:nvGrpSpPr>
        <p:grpSpPr>
          <a:xfrm>
            <a:off x="8680192" y="1019010"/>
            <a:ext cx="3508375" cy="430644"/>
            <a:chOff x="9062519" y="1031710"/>
            <a:chExt cx="3508375" cy="430644"/>
          </a:xfrm>
        </p:grpSpPr>
        <p:grpSp>
          <p:nvGrpSpPr>
            <p:cNvPr id="284" name="Group 283"/>
            <p:cNvGrpSpPr/>
            <p:nvPr/>
          </p:nvGrpSpPr>
          <p:grpSpPr>
            <a:xfrm>
              <a:off x="9062519" y="1142200"/>
              <a:ext cx="266339" cy="320154"/>
              <a:chOff x="3024188" y="2184403"/>
              <a:chExt cx="4329112" cy="5203820"/>
            </a:xfrm>
            <a:solidFill>
              <a:schemeClr val="accent2"/>
            </a:solidFill>
          </p:grpSpPr>
          <p:sp>
            <p:nvSpPr>
              <p:cNvPr id="285" name="Freeform 55"/>
              <p:cNvSpPr>
                <a:spLocks noEditPoints="1"/>
              </p:cNvSpPr>
              <p:nvPr/>
            </p:nvSpPr>
            <p:spPr bwMode="auto">
              <a:xfrm>
                <a:off x="3024188" y="2184403"/>
                <a:ext cx="4329112" cy="5203820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 sz="1200"/>
              </a:p>
            </p:txBody>
          </p:sp>
          <p:sp>
            <p:nvSpPr>
              <p:cNvPr id="286" name="Freeform 56"/>
              <p:cNvSpPr/>
              <p:nvPr/>
            </p:nvSpPr>
            <p:spPr bwMode="auto">
              <a:xfrm>
                <a:off x="4305302" y="3106741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 sz="1200"/>
              </a:p>
            </p:txBody>
          </p:sp>
          <p:sp>
            <p:nvSpPr>
              <p:cNvPr id="287" name="Freeform 57"/>
              <p:cNvSpPr/>
              <p:nvPr/>
            </p:nvSpPr>
            <p:spPr bwMode="auto">
              <a:xfrm>
                <a:off x="4305302" y="3813172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 sz="1200"/>
              </a:p>
            </p:txBody>
          </p:sp>
          <p:sp>
            <p:nvSpPr>
              <p:cNvPr id="288" name="Freeform 58"/>
              <p:cNvSpPr/>
              <p:nvPr/>
            </p:nvSpPr>
            <p:spPr bwMode="auto">
              <a:xfrm>
                <a:off x="4305302" y="4519603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 sz="1200"/>
              </a:p>
            </p:txBody>
          </p:sp>
          <p:sp>
            <p:nvSpPr>
              <p:cNvPr id="289" name="Freeform 59"/>
              <p:cNvSpPr/>
              <p:nvPr/>
            </p:nvSpPr>
            <p:spPr bwMode="auto">
              <a:xfrm>
                <a:off x="4305302" y="5227629"/>
                <a:ext cx="2476503" cy="29528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 sz="1200"/>
              </a:p>
            </p:txBody>
          </p:sp>
        </p:grpSp>
        <p:sp>
          <p:nvSpPr>
            <p:cNvPr id="290" name="TextBox 289"/>
            <p:cNvSpPr txBox="1"/>
            <p:nvPr/>
          </p:nvSpPr>
          <p:spPr>
            <a:xfrm>
              <a:off x="9459394" y="1031710"/>
              <a:ext cx="3111500" cy="4305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MỨC LƯƠNG TRUNG BÌNH CỦA TỪNG THỂ LOẠI GIÁO VIÊN/NHÂN VIÊN</a:t>
              </a: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02" name="TextBox 301"/>
          <p:cNvSpPr txBox="1"/>
          <p:nvPr/>
        </p:nvSpPr>
        <p:spPr>
          <a:xfrm>
            <a:off x="9890764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304" name="TextBox 303"/>
          <p:cNvSpPr txBox="1"/>
          <p:nvPr/>
        </p:nvSpPr>
        <p:spPr>
          <a:xfrm>
            <a:off x="3247390" y="3524885"/>
            <a:ext cx="2923540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SỐ LƯỢNG VÀ TỈ LỆ GIÁO VIÊN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303" name="Straight Connector 302"/>
          <p:cNvCxnSpPr/>
          <p:nvPr/>
        </p:nvCxnSpPr>
        <p:spPr>
          <a:xfrm>
            <a:off x="2825972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Freeform 64"/>
          <p:cNvSpPr>
            <a:spLocks noEditPoints="1"/>
          </p:cNvSpPr>
          <p:nvPr/>
        </p:nvSpPr>
        <p:spPr bwMode="auto">
          <a:xfrm>
            <a:off x="2825972" y="3455167"/>
            <a:ext cx="259294" cy="333873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IN"/>
          </a:p>
        </p:txBody>
      </p:sp>
      <p:pic>
        <p:nvPicPr>
          <p:cNvPr id="2" name="Content Placeholder 1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2496820" y="3861435"/>
            <a:ext cx="3634105" cy="28384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0195" y="1335405"/>
            <a:ext cx="5423535" cy="211899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5225" y="3833495"/>
            <a:ext cx="5501005" cy="30213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8290" y="1568450"/>
            <a:ext cx="4171315" cy="1884045"/>
          </a:xfrm>
          <a:prstGeom prst="rect">
            <a:avLst/>
          </a:prstGeom>
        </p:spPr>
      </p:pic>
      <p:sp>
        <p:nvSpPr>
          <p:cNvPr id="9" name="TextBox 289"/>
          <p:cNvSpPr txBox="1"/>
          <p:nvPr/>
        </p:nvSpPr>
        <p:spPr>
          <a:xfrm>
            <a:off x="6742430" y="3501390"/>
            <a:ext cx="5378450" cy="215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MỨC LƯƠNG TRUNG BÌNH CỦA TỪNG THỂ LOẠI GIÁO VIÊN/NHÂN VIÊN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" name="TextBox 9"/>
          <p:cNvSpPr txBox="1"/>
          <p:nvPr/>
        </p:nvSpPr>
        <p:spPr>
          <a:xfrm>
            <a:off x="838200" y="2924810"/>
            <a:ext cx="1866265" cy="73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en-US" alt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TỈ LỆ GIÁO VIÊN CÓ MỨC LƯƠNG TRÊN TRUNG BÌNH</a:t>
            </a:r>
            <a:endParaRPr lang="en-US" altLang="en-IN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9"/>
          <p:cNvSpPr txBox="1"/>
          <p:nvPr/>
        </p:nvSpPr>
        <p:spPr>
          <a:xfrm>
            <a:off x="838200" y="5120640"/>
            <a:ext cx="1866265" cy="73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en-US" alt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TỈ LỆ GIÁO VIÊN CÓ MỨC LƯƠNG DƯỚI TRUNG BÌNH</a:t>
            </a:r>
            <a:endParaRPr lang="en-US" altLang="en-IN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61938" y="2970784"/>
            <a:ext cx="531730" cy="531730"/>
            <a:chOff x="4469581" y="499171"/>
            <a:chExt cx="531730" cy="531730"/>
          </a:xfrm>
        </p:grpSpPr>
        <p:sp>
          <p:nvSpPr>
            <p:cNvPr id="16" name="Oval 15"/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en-IN"/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19" name="Freeform 22"/>
              <p:cNvSpPr/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20" name="Freeform 23"/>
              <p:cNvSpPr/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21" name="Freeform 24"/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22" name="Freeform 25"/>
              <p:cNvSpPr/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23" name="Freeform 26"/>
              <p:cNvSpPr/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24" name="Freeform 27"/>
              <p:cNvSpPr/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25" name="Freeform 28"/>
              <p:cNvSpPr/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864870" y="980440"/>
            <a:ext cx="6155690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GB" sz="1600" dirty="0"/>
              <a:t>M</a:t>
            </a:r>
            <a:r>
              <a:rPr lang="en-US" altLang="en-GB" sz="1600" dirty="0"/>
              <a:t>ỨC LƯƠNG CAO NHẤT CỦA TỪNG LỘ TRÌNH GIÁO VIÊN/ NHÂN VIÊN</a:t>
            </a:r>
            <a:endParaRPr lang="en-US" altLang="en-GB" sz="16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309290" y="942628"/>
            <a:ext cx="531730" cy="531730"/>
            <a:chOff x="4469581" y="499171"/>
            <a:chExt cx="531730" cy="531730"/>
          </a:xfrm>
        </p:grpSpPr>
        <p:sp>
          <p:nvSpPr>
            <p:cNvPr id="21" name="Oval 20"/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23" name="Freeform 22"/>
              <p:cNvSpPr/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4" name="Freeform 23"/>
              <p:cNvSpPr/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5" name="Freeform 24"/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6" name="Freeform 25"/>
              <p:cNvSpPr/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7" name="Freeform 26"/>
              <p:cNvSpPr/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8" name="Freeform 27"/>
              <p:cNvSpPr/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29" name="Freeform 28"/>
              <p:cNvSpPr/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7239627" y="871508"/>
            <a:ext cx="531730" cy="531730"/>
            <a:chOff x="8307290" y="499171"/>
            <a:chExt cx="531730" cy="531730"/>
          </a:xfrm>
        </p:grpSpPr>
        <p:sp>
          <p:nvSpPr>
            <p:cNvPr id="31" name="Oval 30"/>
            <p:cNvSpPr/>
            <p:nvPr/>
          </p:nvSpPr>
          <p:spPr>
            <a:xfrm>
              <a:off x="8307290" y="499171"/>
              <a:ext cx="531730" cy="5317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8462093" y="625055"/>
              <a:ext cx="222124" cy="251542"/>
              <a:chOff x="9328088" y="2706114"/>
              <a:chExt cx="561491" cy="635854"/>
            </a:xfrm>
            <a:solidFill>
              <a:schemeClr val="bg1"/>
            </a:solidFill>
          </p:grpSpPr>
          <p:sp>
            <p:nvSpPr>
              <p:cNvPr id="33" name="Freeform 25"/>
              <p:cNvSpPr/>
              <p:nvPr/>
            </p:nvSpPr>
            <p:spPr bwMode="auto">
              <a:xfrm flipH="1">
                <a:off x="9732523" y="3172463"/>
                <a:ext cx="130147" cy="169505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34" name="Freeform 26"/>
              <p:cNvSpPr/>
              <p:nvPr/>
            </p:nvSpPr>
            <p:spPr bwMode="auto">
              <a:xfrm flipH="1">
                <a:off x="9530480" y="3081325"/>
                <a:ext cx="130147" cy="260643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35" name="Freeform 27"/>
              <p:cNvSpPr/>
              <p:nvPr/>
            </p:nvSpPr>
            <p:spPr bwMode="auto">
              <a:xfrm flipH="1">
                <a:off x="9328088" y="2977068"/>
                <a:ext cx="130497" cy="364900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9708353" y="2952232"/>
                <a:ext cx="181226" cy="181400"/>
                <a:chOff x="9687916" y="2768554"/>
                <a:chExt cx="181226" cy="181400"/>
              </a:xfrm>
              <a:grpFill/>
            </p:grpSpPr>
            <p:grpSp>
              <p:nvGrpSpPr>
                <p:cNvPr id="38" name="Group 37"/>
                <p:cNvGrpSpPr/>
                <p:nvPr/>
              </p:nvGrpSpPr>
              <p:grpSpPr>
                <a:xfrm>
                  <a:off x="9757363" y="2819633"/>
                  <a:ext cx="44257" cy="78018"/>
                  <a:chOff x="9757363" y="2819633"/>
                  <a:chExt cx="44257" cy="78018"/>
                </a:xfrm>
                <a:grpFill/>
              </p:grpSpPr>
              <p:sp>
                <p:nvSpPr>
                  <p:cNvPr id="40" name="Freeform 22"/>
                  <p:cNvSpPr/>
                  <p:nvPr/>
                </p:nvSpPr>
                <p:spPr bwMode="auto">
                  <a:xfrm>
                    <a:off x="9783252" y="2867913"/>
                    <a:ext cx="18368" cy="29738"/>
                  </a:xfrm>
                  <a:custGeom>
                    <a:avLst/>
                    <a:gdLst>
                      <a:gd name="T0" fmla="*/ 0 w 212"/>
                      <a:gd name="T1" fmla="*/ 0 h 339"/>
                      <a:gd name="T2" fmla="*/ 32 w 212"/>
                      <a:gd name="T3" fmla="*/ 8 h 339"/>
                      <a:gd name="T4" fmla="*/ 64 w 212"/>
                      <a:gd name="T5" fmla="*/ 16 h 339"/>
                      <a:gd name="T6" fmla="*/ 96 w 212"/>
                      <a:gd name="T7" fmla="*/ 28 h 339"/>
                      <a:gd name="T8" fmla="*/ 128 w 212"/>
                      <a:gd name="T9" fmla="*/ 42 h 339"/>
                      <a:gd name="T10" fmla="*/ 154 w 212"/>
                      <a:gd name="T11" fmla="*/ 58 h 339"/>
                      <a:gd name="T12" fmla="*/ 178 w 212"/>
                      <a:gd name="T13" fmla="*/ 80 h 339"/>
                      <a:gd name="T14" fmla="*/ 196 w 212"/>
                      <a:gd name="T15" fmla="*/ 106 h 339"/>
                      <a:gd name="T16" fmla="*/ 208 w 212"/>
                      <a:gd name="T17" fmla="*/ 136 h 339"/>
                      <a:gd name="T18" fmla="*/ 212 w 212"/>
                      <a:gd name="T19" fmla="*/ 172 h 339"/>
                      <a:gd name="T20" fmla="*/ 208 w 212"/>
                      <a:gd name="T21" fmla="*/ 207 h 339"/>
                      <a:gd name="T22" fmla="*/ 198 w 212"/>
                      <a:gd name="T23" fmla="*/ 237 h 339"/>
                      <a:gd name="T24" fmla="*/ 180 w 212"/>
                      <a:gd name="T25" fmla="*/ 263 h 339"/>
                      <a:gd name="T26" fmla="*/ 158 w 212"/>
                      <a:gd name="T27" fmla="*/ 285 h 339"/>
                      <a:gd name="T28" fmla="*/ 132 w 212"/>
                      <a:gd name="T29" fmla="*/ 303 h 339"/>
                      <a:gd name="T30" fmla="*/ 102 w 212"/>
                      <a:gd name="T31" fmla="*/ 317 h 339"/>
                      <a:gd name="T32" fmla="*/ 70 w 212"/>
                      <a:gd name="T33" fmla="*/ 329 h 339"/>
                      <a:gd name="T34" fmla="*/ 36 w 212"/>
                      <a:gd name="T35" fmla="*/ 335 h 339"/>
                      <a:gd name="T36" fmla="*/ 0 w 212"/>
                      <a:gd name="T37" fmla="*/ 339 h 339"/>
                      <a:gd name="T38" fmla="*/ 0 w 212"/>
                      <a:gd name="T39" fmla="*/ 0 h 3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12" h="339">
                        <a:moveTo>
                          <a:pt x="0" y="0"/>
                        </a:moveTo>
                        <a:lnTo>
                          <a:pt x="32" y="8"/>
                        </a:lnTo>
                        <a:lnTo>
                          <a:pt x="64" y="16"/>
                        </a:lnTo>
                        <a:lnTo>
                          <a:pt x="96" y="28"/>
                        </a:lnTo>
                        <a:lnTo>
                          <a:pt x="128" y="42"/>
                        </a:lnTo>
                        <a:lnTo>
                          <a:pt x="154" y="58"/>
                        </a:lnTo>
                        <a:lnTo>
                          <a:pt x="178" y="80"/>
                        </a:lnTo>
                        <a:lnTo>
                          <a:pt x="196" y="106"/>
                        </a:lnTo>
                        <a:lnTo>
                          <a:pt x="208" y="136"/>
                        </a:lnTo>
                        <a:lnTo>
                          <a:pt x="212" y="172"/>
                        </a:lnTo>
                        <a:lnTo>
                          <a:pt x="208" y="207"/>
                        </a:lnTo>
                        <a:lnTo>
                          <a:pt x="198" y="237"/>
                        </a:lnTo>
                        <a:lnTo>
                          <a:pt x="180" y="263"/>
                        </a:lnTo>
                        <a:lnTo>
                          <a:pt x="158" y="285"/>
                        </a:lnTo>
                        <a:lnTo>
                          <a:pt x="132" y="303"/>
                        </a:lnTo>
                        <a:lnTo>
                          <a:pt x="102" y="317"/>
                        </a:lnTo>
                        <a:lnTo>
                          <a:pt x="70" y="329"/>
                        </a:lnTo>
                        <a:lnTo>
                          <a:pt x="36" y="335"/>
                        </a:lnTo>
                        <a:lnTo>
                          <a:pt x="0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en-IN"/>
                  </a:p>
                </p:txBody>
              </p:sp>
              <p:sp>
                <p:nvSpPr>
                  <p:cNvPr id="41" name="Freeform 23"/>
                  <p:cNvSpPr/>
                  <p:nvPr/>
                </p:nvSpPr>
                <p:spPr bwMode="auto">
                  <a:xfrm>
                    <a:off x="9757363" y="2819633"/>
                    <a:ext cx="16968" cy="26939"/>
                  </a:xfrm>
                  <a:custGeom>
                    <a:avLst/>
                    <a:gdLst>
                      <a:gd name="T0" fmla="*/ 194 w 194"/>
                      <a:gd name="T1" fmla="*/ 0 h 307"/>
                      <a:gd name="T2" fmla="*/ 194 w 194"/>
                      <a:gd name="T3" fmla="*/ 307 h 307"/>
                      <a:gd name="T4" fmla="*/ 142 w 194"/>
                      <a:gd name="T5" fmla="*/ 295 h 307"/>
                      <a:gd name="T6" fmla="*/ 100 w 194"/>
                      <a:gd name="T7" fmla="*/ 279 h 307"/>
                      <a:gd name="T8" fmla="*/ 64 w 194"/>
                      <a:gd name="T9" fmla="*/ 259 h 307"/>
                      <a:gd name="T10" fmla="*/ 36 w 194"/>
                      <a:gd name="T11" fmla="*/ 237 h 307"/>
                      <a:gd name="T12" fmla="*/ 16 w 194"/>
                      <a:gd name="T13" fmla="*/ 211 h 307"/>
                      <a:gd name="T14" fmla="*/ 4 w 194"/>
                      <a:gd name="T15" fmla="*/ 179 h 307"/>
                      <a:gd name="T16" fmla="*/ 0 w 194"/>
                      <a:gd name="T17" fmla="*/ 146 h 307"/>
                      <a:gd name="T18" fmla="*/ 6 w 194"/>
                      <a:gd name="T19" fmla="*/ 114 h 307"/>
                      <a:gd name="T20" fmla="*/ 18 w 194"/>
                      <a:gd name="T21" fmla="*/ 86 h 307"/>
                      <a:gd name="T22" fmla="*/ 40 w 194"/>
                      <a:gd name="T23" fmla="*/ 58 h 307"/>
                      <a:gd name="T24" fmla="*/ 68 w 194"/>
                      <a:gd name="T25" fmla="*/ 36 h 307"/>
                      <a:gd name="T26" fmla="*/ 104 w 194"/>
                      <a:gd name="T27" fmla="*/ 18 h 307"/>
                      <a:gd name="T28" fmla="*/ 146 w 194"/>
                      <a:gd name="T29" fmla="*/ 6 h 307"/>
                      <a:gd name="T30" fmla="*/ 194 w 194"/>
                      <a:gd name="T31" fmla="*/ 0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94" h="307">
                        <a:moveTo>
                          <a:pt x="194" y="0"/>
                        </a:moveTo>
                        <a:lnTo>
                          <a:pt x="194" y="307"/>
                        </a:lnTo>
                        <a:lnTo>
                          <a:pt x="142" y="295"/>
                        </a:lnTo>
                        <a:lnTo>
                          <a:pt x="100" y="279"/>
                        </a:lnTo>
                        <a:lnTo>
                          <a:pt x="64" y="259"/>
                        </a:lnTo>
                        <a:lnTo>
                          <a:pt x="36" y="237"/>
                        </a:lnTo>
                        <a:lnTo>
                          <a:pt x="16" y="211"/>
                        </a:lnTo>
                        <a:lnTo>
                          <a:pt x="4" y="179"/>
                        </a:lnTo>
                        <a:lnTo>
                          <a:pt x="0" y="146"/>
                        </a:lnTo>
                        <a:lnTo>
                          <a:pt x="6" y="114"/>
                        </a:lnTo>
                        <a:lnTo>
                          <a:pt x="18" y="86"/>
                        </a:lnTo>
                        <a:lnTo>
                          <a:pt x="40" y="58"/>
                        </a:lnTo>
                        <a:lnTo>
                          <a:pt x="68" y="36"/>
                        </a:lnTo>
                        <a:lnTo>
                          <a:pt x="104" y="18"/>
                        </a:lnTo>
                        <a:lnTo>
                          <a:pt x="146" y="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en-IN"/>
                  </a:p>
                </p:txBody>
              </p:sp>
            </p:grpSp>
            <p:sp>
              <p:nvSpPr>
                <p:cNvPr id="39" name="Freeform 24"/>
                <p:cNvSpPr>
                  <a:spLocks noEditPoints="1"/>
                </p:cNvSpPr>
                <p:nvPr/>
              </p:nvSpPr>
              <p:spPr bwMode="auto">
                <a:xfrm>
                  <a:off x="9687916" y="2768554"/>
                  <a:ext cx="181226" cy="181400"/>
                </a:xfrm>
                <a:custGeom>
                  <a:avLst/>
                  <a:gdLst>
                    <a:gd name="T0" fmla="*/ 993 w 2073"/>
                    <a:gd name="T1" fmla="*/ 297 h 2073"/>
                    <a:gd name="T2" fmla="*/ 875 w 2073"/>
                    <a:gd name="T3" fmla="*/ 425 h 2073"/>
                    <a:gd name="T4" fmla="*/ 684 w 2073"/>
                    <a:gd name="T5" fmla="*/ 522 h 2073"/>
                    <a:gd name="T6" fmla="*/ 584 w 2073"/>
                    <a:gd name="T7" fmla="*/ 708 h 2073"/>
                    <a:gd name="T8" fmla="*/ 620 w 2073"/>
                    <a:gd name="T9" fmla="*/ 919 h 2073"/>
                    <a:gd name="T10" fmla="*/ 787 w 2073"/>
                    <a:gd name="T11" fmla="*/ 1058 h 2073"/>
                    <a:gd name="T12" fmla="*/ 989 w 2073"/>
                    <a:gd name="T13" fmla="*/ 1475 h 2073"/>
                    <a:gd name="T14" fmla="*/ 845 w 2073"/>
                    <a:gd name="T15" fmla="*/ 1431 h 2073"/>
                    <a:gd name="T16" fmla="*/ 789 w 2073"/>
                    <a:gd name="T17" fmla="*/ 1347 h 2073"/>
                    <a:gd name="T18" fmla="*/ 754 w 2073"/>
                    <a:gd name="T19" fmla="*/ 1264 h 2073"/>
                    <a:gd name="T20" fmla="*/ 662 w 2073"/>
                    <a:gd name="T21" fmla="*/ 1226 h 2073"/>
                    <a:gd name="T22" fmla="*/ 568 w 2073"/>
                    <a:gd name="T23" fmla="*/ 1276 h 2073"/>
                    <a:gd name="T24" fmla="*/ 570 w 2073"/>
                    <a:gd name="T25" fmla="*/ 1411 h 2073"/>
                    <a:gd name="T26" fmla="*/ 684 w 2073"/>
                    <a:gd name="T27" fmla="*/ 1557 h 2073"/>
                    <a:gd name="T28" fmla="*/ 913 w 2073"/>
                    <a:gd name="T29" fmla="*/ 1644 h 2073"/>
                    <a:gd name="T30" fmla="*/ 1003 w 2073"/>
                    <a:gd name="T31" fmla="*/ 1796 h 2073"/>
                    <a:gd name="T32" fmla="*/ 1076 w 2073"/>
                    <a:gd name="T33" fmla="*/ 1796 h 2073"/>
                    <a:gd name="T34" fmla="*/ 1158 w 2073"/>
                    <a:gd name="T35" fmla="*/ 1644 h 2073"/>
                    <a:gd name="T36" fmla="*/ 1379 w 2073"/>
                    <a:gd name="T37" fmla="*/ 1565 h 2073"/>
                    <a:gd name="T38" fmla="*/ 1501 w 2073"/>
                    <a:gd name="T39" fmla="*/ 1403 h 2073"/>
                    <a:gd name="T40" fmla="*/ 1505 w 2073"/>
                    <a:gd name="T41" fmla="*/ 1180 h 2073"/>
                    <a:gd name="T42" fmla="*/ 1407 w 2073"/>
                    <a:gd name="T43" fmla="*/ 1033 h 2073"/>
                    <a:gd name="T44" fmla="*/ 1242 w 2073"/>
                    <a:gd name="T45" fmla="*/ 949 h 2073"/>
                    <a:gd name="T46" fmla="*/ 1090 w 2073"/>
                    <a:gd name="T47" fmla="*/ 584 h 2073"/>
                    <a:gd name="T48" fmla="*/ 1228 w 2073"/>
                    <a:gd name="T49" fmla="*/ 634 h 2073"/>
                    <a:gd name="T50" fmla="*/ 1306 w 2073"/>
                    <a:gd name="T51" fmla="*/ 724 h 2073"/>
                    <a:gd name="T52" fmla="*/ 1391 w 2073"/>
                    <a:gd name="T53" fmla="*/ 771 h 2073"/>
                    <a:gd name="T54" fmla="*/ 1485 w 2073"/>
                    <a:gd name="T55" fmla="*/ 722 h 2073"/>
                    <a:gd name="T56" fmla="*/ 1479 w 2073"/>
                    <a:gd name="T57" fmla="*/ 588 h 2073"/>
                    <a:gd name="T58" fmla="*/ 1345 w 2073"/>
                    <a:gd name="T59" fmla="*/ 474 h 2073"/>
                    <a:gd name="T60" fmla="*/ 1168 w 2073"/>
                    <a:gd name="T61" fmla="*/ 417 h 2073"/>
                    <a:gd name="T62" fmla="*/ 1086 w 2073"/>
                    <a:gd name="T63" fmla="*/ 297 h 2073"/>
                    <a:gd name="T64" fmla="*/ 1037 w 2073"/>
                    <a:gd name="T65" fmla="*/ 0 h 2073"/>
                    <a:gd name="T66" fmla="*/ 1465 w 2073"/>
                    <a:gd name="T67" fmla="*/ 94 h 2073"/>
                    <a:gd name="T68" fmla="*/ 1806 w 2073"/>
                    <a:gd name="T69" fmla="*/ 343 h 2073"/>
                    <a:gd name="T70" fmla="*/ 2019 w 2073"/>
                    <a:gd name="T71" fmla="*/ 710 h 2073"/>
                    <a:gd name="T72" fmla="*/ 2067 w 2073"/>
                    <a:gd name="T73" fmla="*/ 1150 h 2073"/>
                    <a:gd name="T74" fmla="*/ 1932 w 2073"/>
                    <a:gd name="T75" fmla="*/ 1561 h 2073"/>
                    <a:gd name="T76" fmla="*/ 1648 w 2073"/>
                    <a:gd name="T77" fmla="*/ 1874 h 2073"/>
                    <a:gd name="T78" fmla="*/ 1258 w 2073"/>
                    <a:gd name="T79" fmla="*/ 2049 h 2073"/>
                    <a:gd name="T80" fmla="*/ 813 w 2073"/>
                    <a:gd name="T81" fmla="*/ 2049 h 2073"/>
                    <a:gd name="T82" fmla="*/ 425 w 2073"/>
                    <a:gd name="T83" fmla="*/ 1874 h 2073"/>
                    <a:gd name="T84" fmla="*/ 142 w 2073"/>
                    <a:gd name="T85" fmla="*/ 1561 h 2073"/>
                    <a:gd name="T86" fmla="*/ 6 w 2073"/>
                    <a:gd name="T87" fmla="*/ 1150 h 2073"/>
                    <a:gd name="T88" fmla="*/ 52 w 2073"/>
                    <a:gd name="T89" fmla="*/ 710 h 2073"/>
                    <a:gd name="T90" fmla="*/ 267 w 2073"/>
                    <a:gd name="T91" fmla="*/ 343 h 2073"/>
                    <a:gd name="T92" fmla="*/ 608 w 2073"/>
                    <a:gd name="T93" fmla="*/ 94 h 2073"/>
                    <a:gd name="T94" fmla="*/ 1037 w 2073"/>
                    <a:gd name="T95" fmla="*/ 0 h 20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73" h="2073">
                      <a:moveTo>
                        <a:pt x="1039" y="259"/>
                      </a:moveTo>
                      <a:lnTo>
                        <a:pt x="1019" y="265"/>
                      </a:lnTo>
                      <a:lnTo>
                        <a:pt x="1003" y="277"/>
                      </a:lnTo>
                      <a:lnTo>
                        <a:pt x="993" y="297"/>
                      </a:lnTo>
                      <a:lnTo>
                        <a:pt x="989" y="317"/>
                      </a:lnTo>
                      <a:lnTo>
                        <a:pt x="989" y="409"/>
                      </a:lnTo>
                      <a:lnTo>
                        <a:pt x="931" y="415"/>
                      </a:lnTo>
                      <a:lnTo>
                        <a:pt x="875" y="425"/>
                      </a:lnTo>
                      <a:lnTo>
                        <a:pt x="821" y="441"/>
                      </a:lnTo>
                      <a:lnTo>
                        <a:pt x="771" y="460"/>
                      </a:lnTo>
                      <a:lnTo>
                        <a:pt x="726" y="488"/>
                      </a:lnTo>
                      <a:lnTo>
                        <a:pt x="684" y="522"/>
                      </a:lnTo>
                      <a:lnTo>
                        <a:pt x="650" y="560"/>
                      </a:lnTo>
                      <a:lnTo>
                        <a:pt x="620" y="604"/>
                      </a:lnTo>
                      <a:lnTo>
                        <a:pt x="598" y="654"/>
                      </a:lnTo>
                      <a:lnTo>
                        <a:pt x="584" y="708"/>
                      </a:lnTo>
                      <a:lnTo>
                        <a:pt x="580" y="769"/>
                      </a:lnTo>
                      <a:lnTo>
                        <a:pt x="584" y="823"/>
                      </a:lnTo>
                      <a:lnTo>
                        <a:pt x="598" y="873"/>
                      </a:lnTo>
                      <a:lnTo>
                        <a:pt x="620" y="919"/>
                      </a:lnTo>
                      <a:lnTo>
                        <a:pt x="652" y="961"/>
                      </a:lnTo>
                      <a:lnTo>
                        <a:pt x="690" y="997"/>
                      </a:lnTo>
                      <a:lnTo>
                        <a:pt x="736" y="1029"/>
                      </a:lnTo>
                      <a:lnTo>
                        <a:pt x="787" y="1058"/>
                      </a:lnTo>
                      <a:lnTo>
                        <a:pt x="849" y="1080"/>
                      </a:lnTo>
                      <a:lnTo>
                        <a:pt x="915" y="1100"/>
                      </a:lnTo>
                      <a:lnTo>
                        <a:pt x="989" y="1116"/>
                      </a:lnTo>
                      <a:lnTo>
                        <a:pt x="989" y="1475"/>
                      </a:lnTo>
                      <a:lnTo>
                        <a:pt x="941" y="1471"/>
                      </a:lnTo>
                      <a:lnTo>
                        <a:pt x="901" y="1461"/>
                      </a:lnTo>
                      <a:lnTo>
                        <a:pt x="869" y="1447"/>
                      </a:lnTo>
                      <a:lnTo>
                        <a:pt x="845" y="1431"/>
                      </a:lnTo>
                      <a:lnTo>
                        <a:pt x="825" y="1413"/>
                      </a:lnTo>
                      <a:lnTo>
                        <a:pt x="811" y="1391"/>
                      </a:lnTo>
                      <a:lnTo>
                        <a:pt x="799" y="1369"/>
                      </a:lnTo>
                      <a:lnTo>
                        <a:pt x="789" y="1347"/>
                      </a:lnTo>
                      <a:lnTo>
                        <a:pt x="781" y="1324"/>
                      </a:lnTo>
                      <a:lnTo>
                        <a:pt x="773" y="1302"/>
                      </a:lnTo>
                      <a:lnTo>
                        <a:pt x="765" y="1282"/>
                      </a:lnTo>
                      <a:lnTo>
                        <a:pt x="754" y="1264"/>
                      </a:lnTo>
                      <a:lnTo>
                        <a:pt x="738" y="1248"/>
                      </a:lnTo>
                      <a:lnTo>
                        <a:pt x="718" y="1238"/>
                      </a:lnTo>
                      <a:lnTo>
                        <a:pt x="694" y="1230"/>
                      </a:lnTo>
                      <a:lnTo>
                        <a:pt x="662" y="1226"/>
                      </a:lnTo>
                      <a:lnTo>
                        <a:pt x="630" y="1230"/>
                      </a:lnTo>
                      <a:lnTo>
                        <a:pt x="604" y="1240"/>
                      </a:lnTo>
                      <a:lnTo>
                        <a:pt x="584" y="1256"/>
                      </a:lnTo>
                      <a:lnTo>
                        <a:pt x="568" y="1276"/>
                      </a:lnTo>
                      <a:lnTo>
                        <a:pt x="558" y="1304"/>
                      </a:lnTo>
                      <a:lnTo>
                        <a:pt x="554" y="1336"/>
                      </a:lnTo>
                      <a:lnTo>
                        <a:pt x="558" y="1373"/>
                      </a:lnTo>
                      <a:lnTo>
                        <a:pt x="570" y="1411"/>
                      </a:lnTo>
                      <a:lnTo>
                        <a:pt x="586" y="1449"/>
                      </a:lnTo>
                      <a:lnTo>
                        <a:pt x="612" y="1487"/>
                      </a:lnTo>
                      <a:lnTo>
                        <a:pt x="644" y="1523"/>
                      </a:lnTo>
                      <a:lnTo>
                        <a:pt x="684" y="1557"/>
                      </a:lnTo>
                      <a:lnTo>
                        <a:pt x="730" y="1587"/>
                      </a:lnTo>
                      <a:lnTo>
                        <a:pt x="783" y="1613"/>
                      </a:lnTo>
                      <a:lnTo>
                        <a:pt x="845" y="1631"/>
                      </a:lnTo>
                      <a:lnTo>
                        <a:pt x="913" y="1644"/>
                      </a:lnTo>
                      <a:lnTo>
                        <a:pt x="989" y="1650"/>
                      </a:lnTo>
                      <a:lnTo>
                        <a:pt x="989" y="1756"/>
                      </a:lnTo>
                      <a:lnTo>
                        <a:pt x="993" y="1778"/>
                      </a:lnTo>
                      <a:lnTo>
                        <a:pt x="1003" y="1796"/>
                      </a:lnTo>
                      <a:lnTo>
                        <a:pt x="1019" y="1810"/>
                      </a:lnTo>
                      <a:lnTo>
                        <a:pt x="1041" y="1816"/>
                      </a:lnTo>
                      <a:lnTo>
                        <a:pt x="1060" y="1810"/>
                      </a:lnTo>
                      <a:lnTo>
                        <a:pt x="1076" y="1796"/>
                      </a:lnTo>
                      <a:lnTo>
                        <a:pt x="1086" y="1778"/>
                      </a:lnTo>
                      <a:lnTo>
                        <a:pt x="1090" y="1756"/>
                      </a:lnTo>
                      <a:lnTo>
                        <a:pt x="1090" y="1650"/>
                      </a:lnTo>
                      <a:lnTo>
                        <a:pt x="1158" y="1644"/>
                      </a:lnTo>
                      <a:lnTo>
                        <a:pt x="1222" y="1633"/>
                      </a:lnTo>
                      <a:lnTo>
                        <a:pt x="1280" y="1615"/>
                      </a:lnTo>
                      <a:lnTo>
                        <a:pt x="1332" y="1593"/>
                      </a:lnTo>
                      <a:lnTo>
                        <a:pt x="1379" y="1565"/>
                      </a:lnTo>
                      <a:lnTo>
                        <a:pt x="1419" y="1533"/>
                      </a:lnTo>
                      <a:lnTo>
                        <a:pt x="1455" y="1495"/>
                      </a:lnTo>
                      <a:lnTo>
                        <a:pt x="1481" y="1451"/>
                      </a:lnTo>
                      <a:lnTo>
                        <a:pt x="1501" y="1403"/>
                      </a:lnTo>
                      <a:lnTo>
                        <a:pt x="1513" y="1349"/>
                      </a:lnTo>
                      <a:lnTo>
                        <a:pt x="1519" y="1290"/>
                      </a:lnTo>
                      <a:lnTo>
                        <a:pt x="1515" y="1232"/>
                      </a:lnTo>
                      <a:lnTo>
                        <a:pt x="1505" y="1180"/>
                      </a:lnTo>
                      <a:lnTo>
                        <a:pt x="1489" y="1136"/>
                      </a:lnTo>
                      <a:lnTo>
                        <a:pt x="1467" y="1096"/>
                      </a:lnTo>
                      <a:lnTo>
                        <a:pt x="1439" y="1062"/>
                      </a:lnTo>
                      <a:lnTo>
                        <a:pt x="1407" y="1033"/>
                      </a:lnTo>
                      <a:lnTo>
                        <a:pt x="1371" y="1007"/>
                      </a:lnTo>
                      <a:lnTo>
                        <a:pt x="1332" y="985"/>
                      </a:lnTo>
                      <a:lnTo>
                        <a:pt x="1288" y="965"/>
                      </a:lnTo>
                      <a:lnTo>
                        <a:pt x="1242" y="949"/>
                      </a:lnTo>
                      <a:lnTo>
                        <a:pt x="1194" y="935"/>
                      </a:lnTo>
                      <a:lnTo>
                        <a:pt x="1142" y="921"/>
                      </a:lnTo>
                      <a:lnTo>
                        <a:pt x="1090" y="909"/>
                      </a:lnTo>
                      <a:lnTo>
                        <a:pt x="1090" y="584"/>
                      </a:lnTo>
                      <a:lnTo>
                        <a:pt x="1134" y="588"/>
                      </a:lnTo>
                      <a:lnTo>
                        <a:pt x="1172" y="600"/>
                      </a:lnTo>
                      <a:lnTo>
                        <a:pt x="1202" y="614"/>
                      </a:lnTo>
                      <a:lnTo>
                        <a:pt x="1228" y="634"/>
                      </a:lnTo>
                      <a:lnTo>
                        <a:pt x="1252" y="656"/>
                      </a:lnTo>
                      <a:lnTo>
                        <a:pt x="1270" y="680"/>
                      </a:lnTo>
                      <a:lnTo>
                        <a:pt x="1288" y="702"/>
                      </a:lnTo>
                      <a:lnTo>
                        <a:pt x="1306" y="724"/>
                      </a:lnTo>
                      <a:lnTo>
                        <a:pt x="1324" y="742"/>
                      </a:lnTo>
                      <a:lnTo>
                        <a:pt x="1343" y="757"/>
                      </a:lnTo>
                      <a:lnTo>
                        <a:pt x="1365" y="767"/>
                      </a:lnTo>
                      <a:lnTo>
                        <a:pt x="1391" y="771"/>
                      </a:lnTo>
                      <a:lnTo>
                        <a:pt x="1419" y="767"/>
                      </a:lnTo>
                      <a:lnTo>
                        <a:pt x="1445" y="757"/>
                      </a:lnTo>
                      <a:lnTo>
                        <a:pt x="1467" y="743"/>
                      </a:lnTo>
                      <a:lnTo>
                        <a:pt x="1485" y="722"/>
                      </a:lnTo>
                      <a:lnTo>
                        <a:pt x="1495" y="696"/>
                      </a:lnTo>
                      <a:lnTo>
                        <a:pt x="1499" y="664"/>
                      </a:lnTo>
                      <a:lnTo>
                        <a:pt x="1493" y="624"/>
                      </a:lnTo>
                      <a:lnTo>
                        <a:pt x="1479" y="588"/>
                      </a:lnTo>
                      <a:lnTo>
                        <a:pt x="1455" y="554"/>
                      </a:lnTo>
                      <a:lnTo>
                        <a:pt x="1423" y="524"/>
                      </a:lnTo>
                      <a:lnTo>
                        <a:pt x="1385" y="498"/>
                      </a:lnTo>
                      <a:lnTo>
                        <a:pt x="1345" y="474"/>
                      </a:lnTo>
                      <a:lnTo>
                        <a:pt x="1302" y="456"/>
                      </a:lnTo>
                      <a:lnTo>
                        <a:pt x="1256" y="439"/>
                      </a:lnTo>
                      <a:lnTo>
                        <a:pt x="1212" y="427"/>
                      </a:lnTo>
                      <a:lnTo>
                        <a:pt x="1168" y="417"/>
                      </a:lnTo>
                      <a:lnTo>
                        <a:pt x="1126" y="413"/>
                      </a:lnTo>
                      <a:lnTo>
                        <a:pt x="1090" y="409"/>
                      </a:lnTo>
                      <a:lnTo>
                        <a:pt x="1090" y="317"/>
                      </a:lnTo>
                      <a:lnTo>
                        <a:pt x="1086" y="297"/>
                      </a:lnTo>
                      <a:lnTo>
                        <a:pt x="1076" y="277"/>
                      </a:lnTo>
                      <a:lnTo>
                        <a:pt x="1060" y="265"/>
                      </a:lnTo>
                      <a:lnTo>
                        <a:pt x="1039" y="259"/>
                      </a:lnTo>
                      <a:close/>
                      <a:moveTo>
                        <a:pt x="1037" y="0"/>
                      </a:moveTo>
                      <a:lnTo>
                        <a:pt x="1148" y="6"/>
                      </a:lnTo>
                      <a:lnTo>
                        <a:pt x="1258" y="24"/>
                      </a:lnTo>
                      <a:lnTo>
                        <a:pt x="1363" y="54"/>
                      </a:lnTo>
                      <a:lnTo>
                        <a:pt x="1465" y="94"/>
                      </a:lnTo>
                      <a:lnTo>
                        <a:pt x="1559" y="142"/>
                      </a:lnTo>
                      <a:lnTo>
                        <a:pt x="1648" y="201"/>
                      </a:lnTo>
                      <a:lnTo>
                        <a:pt x="1730" y="267"/>
                      </a:lnTo>
                      <a:lnTo>
                        <a:pt x="1806" y="343"/>
                      </a:lnTo>
                      <a:lnTo>
                        <a:pt x="1874" y="425"/>
                      </a:lnTo>
                      <a:lnTo>
                        <a:pt x="1932" y="514"/>
                      </a:lnTo>
                      <a:lnTo>
                        <a:pt x="1981" y="610"/>
                      </a:lnTo>
                      <a:lnTo>
                        <a:pt x="2019" y="710"/>
                      </a:lnTo>
                      <a:lnTo>
                        <a:pt x="2049" y="815"/>
                      </a:lnTo>
                      <a:lnTo>
                        <a:pt x="2067" y="925"/>
                      </a:lnTo>
                      <a:lnTo>
                        <a:pt x="2073" y="1037"/>
                      </a:lnTo>
                      <a:lnTo>
                        <a:pt x="2067" y="1150"/>
                      </a:lnTo>
                      <a:lnTo>
                        <a:pt x="2049" y="1260"/>
                      </a:lnTo>
                      <a:lnTo>
                        <a:pt x="2021" y="1365"/>
                      </a:lnTo>
                      <a:lnTo>
                        <a:pt x="1981" y="1465"/>
                      </a:lnTo>
                      <a:lnTo>
                        <a:pt x="1932" y="1561"/>
                      </a:lnTo>
                      <a:lnTo>
                        <a:pt x="1874" y="1648"/>
                      </a:lnTo>
                      <a:lnTo>
                        <a:pt x="1806" y="1732"/>
                      </a:lnTo>
                      <a:lnTo>
                        <a:pt x="1730" y="1806"/>
                      </a:lnTo>
                      <a:lnTo>
                        <a:pt x="1648" y="1874"/>
                      </a:lnTo>
                      <a:lnTo>
                        <a:pt x="1559" y="1932"/>
                      </a:lnTo>
                      <a:lnTo>
                        <a:pt x="1465" y="1981"/>
                      </a:lnTo>
                      <a:lnTo>
                        <a:pt x="1363" y="2021"/>
                      </a:lnTo>
                      <a:lnTo>
                        <a:pt x="1258" y="2049"/>
                      </a:lnTo>
                      <a:lnTo>
                        <a:pt x="1148" y="2067"/>
                      </a:lnTo>
                      <a:lnTo>
                        <a:pt x="1037" y="2073"/>
                      </a:lnTo>
                      <a:lnTo>
                        <a:pt x="923" y="2067"/>
                      </a:lnTo>
                      <a:lnTo>
                        <a:pt x="813" y="2049"/>
                      </a:lnTo>
                      <a:lnTo>
                        <a:pt x="710" y="2021"/>
                      </a:lnTo>
                      <a:lnTo>
                        <a:pt x="608" y="1981"/>
                      </a:lnTo>
                      <a:lnTo>
                        <a:pt x="512" y="1932"/>
                      </a:lnTo>
                      <a:lnTo>
                        <a:pt x="425" y="1874"/>
                      </a:lnTo>
                      <a:lnTo>
                        <a:pt x="341" y="1806"/>
                      </a:lnTo>
                      <a:lnTo>
                        <a:pt x="267" y="1732"/>
                      </a:lnTo>
                      <a:lnTo>
                        <a:pt x="199" y="1648"/>
                      </a:lnTo>
                      <a:lnTo>
                        <a:pt x="142" y="1561"/>
                      </a:lnTo>
                      <a:lnTo>
                        <a:pt x="92" y="1465"/>
                      </a:lnTo>
                      <a:lnTo>
                        <a:pt x="52" y="1365"/>
                      </a:lnTo>
                      <a:lnTo>
                        <a:pt x="24" y="1260"/>
                      </a:lnTo>
                      <a:lnTo>
                        <a:pt x="6" y="1150"/>
                      </a:lnTo>
                      <a:lnTo>
                        <a:pt x="0" y="1037"/>
                      </a:lnTo>
                      <a:lnTo>
                        <a:pt x="6" y="925"/>
                      </a:lnTo>
                      <a:lnTo>
                        <a:pt x="24" y="815"/>
                      </a:lnTo>
                      <a:lnTo>
                        <a:pt x="52" y="710"/>
                      </a:lnTo>
                      <a:lnTo>
                        <a:pt x="92" y="610"/>
                      </a:lnTo>
                      <a:lnTo>
                        <a:pt x="142" y="514"/>
                      </a:lnTo>
                      <a:lnTo>
                        <a:pt x="199" y="425"/>
                      </a:lnTo>
                      <a:lnTo>
                        <a:pt x="267" y="343"/>
                      </a:lnTo>
                      <a:lnTo>
                        <a:pt x="341" y="267"/>
                      </a:lnTo>
                      <a:lnTo>
                        <a:pt x="425" y="201"/>
                      </a:lnTo>
                      <a:lnTo>
                        <a:pt x="512" y="142"/>
                      </a:lnTo>
                      <a:lnTo>
                        <a:pt x="608" y="94"/>
                      </a:lnTo>
                      <a:lnTo>
                        <a:pt x="710" y="54"/>
                      </a:lnTo>
                      <a:lnTo>
                        <a:pt x="813" y="24"/>
                      </a:lnTo>
                      <a:lnTo>
                        <a:pt x="923" y="6"/>
                      </a:lnTo>
                      <a:lnTo>
                        <a:pt x="103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IN"/>
                </a:p>
              </p:txBody>
            </p:sp>
          </p:grpSp>
          <p:sp>
            <p:nvSpPr>
              <p:cNvPr id="37" name="Freeform 28"/>
              <p:cNvSpPr/>
              <p:nvPr/>
            </p:nvSpPr>
            <p:spPr bwMode="auto">
              <a:xfrm rot="3305959">
                <a:off x="9350029" y="2781246"/>
                <a:ext cx="368924" cy="218660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</p:grpSp>
      </p:grpSp>
      <p:sp>
        <p:nvSpPr>
          <p:cNvPr id="64" name="TextBox 63"/>
          <p:cNvSpPr txBox="1"/>
          <p:nvPr/>
        </p:nvSpPr>
        <p:spPr>
          <a:xfrm>
            <a:off x="8395622" y="2378786"/>
            <a:ext cx="494791" cy="54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7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9498041" y="2378786"/>
            <a:ext cx="494791" cy="54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9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9329627" y="3075622"/>
            <a:ext cx="835581" cy="410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840740" y="4024630"/>
            <a:ext cx="5487035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Ó BAO NHIÊU LỘ TRÌNH GIÁO VIÊN VÀ CHIỂM TỈ LỆ BAO NHIÊU?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90" name="Freeform 64"/>
          <p:cNvSpPr>
            <a:spLocks noEditPoints="1"/>
          </p:cNvSpPr>
          <p:nvPr/>
        </p:nvSpPr>
        <p:spPr bwMode="auto">
          <a:xfrm>
            <a:off x="399509" y="4004992"/>
            <a:ext cx="250381" cy="297082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IN"/>
          </a:p>
        </p:txBody>
      </p:sp>
      <p:sp>
        <p:nvSpPr>
          <p:cNvPr id="92" name="Freeform 69"/>
          <p:cNvSpPr>
            <a:spLocks noEditPoints="1"/>
          </p:cNvSpPr>
          <p:nvPr/>
        </p:nvSpPr>
        <p:spPr bwMode="auto">
          <a:xfrm>
            <a:off x="6814722" y="3910820"/>
            <a:ext cx="347885" cy="290221"/>
          </a:xfrm>
          <a:custGeom>
            <a:avLst/>
            <a:gdLst>
              <a:gd name="T0" fmla="*/ 4921 w 6191"/>
              <a:gd name="T1" fmla="*/ 4378 h 5604"/>
              <a:gd name="T2" fmla="*/ 4827 w 6191"/>
              <a:gd name="T3" fmla="*/ 4819 h 5604"/>
              <a:gd name="T4" fmla="*/ 5138 w 6191"/>
              <a:gd name="T5" fmla="*/ 5131 h 5604"/>
              <a:gd name="T6" fmla="*/ 5578 w 6191"/>
              <a:gd name="T7" fmla="*/ 5035 h 5604"/>
              <a:gd name="T8" fmla="*/ 5732 w 6191"/>
              <a:gd name="T9" fmla="*/ 4615 h 5604"/>
              <a:gd name="T10" fmla="*/ 5469 w 6191"/>
              <a:gd name="T11" fmla="*/ 4261 h 5604"/>
              <a:gd name="T12" fmla="*/ 2900 w 6191"/>
              <a:gd name="T13" fmla="*/ 4261 h 5604"/>
              <a:gd name="T14" fmla="*/ 2635 w 6191"/>
              <a:gd name="T15" fmla="*/ 4615 h 5604"/>
              <a:gd name="T16" fmla="*/ 2791 w 6191"/>
              <a:gd name="T17" fmla="*/ 5035 h 5604"/>
              <a:gd name="T18" fmla="*/ 3231 w 6191"/>
              <a:gd name="T19" fmla="*/ 5131 h 5604"/>
              <a:gd name="T20" fmla="*/ 3541 w 6191"/>
              <a:gd name="T21" fmla="*/ 4819 h 5604"/>
              <a:gd name="T22" fmla="*/ 3447 w 6191"/>
              <a:gd name="T23" fmla="*/ 4378 h 5604"/>
              <a:gd name="T24" fmla="*/ 920 w 6191"/>
              <a:gd name="T25" fmla="*/ 4218 h 5604"/>
              <a:gd name="T26" fmla="*/ 528 w 6191"/>
              <a:gd name="T27" fmla="*/ 4431 h 5604"/>
              <a:gd name="T28" fmla="*/ 496 w 6191"/>
              <a:gd name="T29" fmla="*/ 4881 h 5604"/>
              <a:gd name="T30" fmla="*/ 850 w 6191"/>
              <a:gd name="T31" fmla="*/ 5146 h 5604"/>
              <a:gd name="T32" fmla="*/ 1271 w 6191"/>
              <a:gd name="T33" fmla="*/ 4990 h 5604"/>
              <a:gd name="T34" fmla="*/ 1365 w 6191"/>
              <a:gd name="T35" fmla="*/ 4549 h 5604"/>
              <a:gd name="T36" fmla="*/ 1053 w 6191"/>
              <a:gd name="T37" fmla="*/ 4237 h 5604"/>
              <a:gd name="T38" fmla="*/ 2842 w 6191"/>
              <a:gd name="T39" fmla="*/ 529 h 5604"/>
              <a:gd name="T40" fmla="*/ 2631 w 6191"/>
              <a:gd name="T41" fmla="*/ 919 h 5604"/>
              <a:gd name="T42" fmla="*/ 2842 w 6191"/>
              <a:gd name="T43" fmla="*/ 1311 h 5604"/>
              <a:gd name="T44" fmla="*/ 3293 w 6191"/>
              <a:gd name="T45" fmla="*/ 1343 h 5604"/>
              <a:gd name="T46" fmla="*/ 3556 w 6191"/>
              <a:gd name="T47" fmla="*/ 989 h 5604"/>
              <a:gd name="T48" fmla="*/ 3402 w 6191"/>
              <a:gd name="T49" fmla="*/ 569 h 5604"/>
              <a:gd name="T50" fmla="*/ 3195 w 6191"/>
              <a:gd name="T51" fmla="*/ 6 h 5604"/>
              <a:gd name="T52" fmla="*/ 3778 w 6191"/>
              <a:gd name="T53" fmla="*/ 303 h 5604"/>
              <a:gd name="T54" fmla="*/ 4015 w 6191"/>
              <a:gd name="T55" fmla="*/ 919 h 5604"/>
              <a:gd name="T56" fmla="*/ 3791 w 6191"/>
              <a:gd name="T57" fmla="*/ 1522 h 5604"/>
              <a:gd name="T58" fmla="*/ 3323 w 6191"/>
              <a:gd name="T59" fmla="*/ 2574 h 5604"/>
              <a:gd name="T60" fmla="*/ 5903 w 6191"/>
              <a:gd name="T61" fmla="*/ 4017 h 5604"/>
              <a:gd name="T62" fmla="*/ 6187 w 6191"/>
              <a:gd name="T63" fmla="*/ 4587 h 5604"/>
              <a:gd name="T64" fmla="*/ 6014 w 6191"/>
              <a:gd name="T65" fmla="*/ 5227 h 5604"/>
              <a:gd name="T66" fmla="*/ 5469 w 6191"/>
              <a:gd name="T67" fmla="*/ 5583 h 5604"/>
              <a:gd name="T68" fmla="*/ 4809 w 6191"/>
              <a:gd name="T69" fmla="*/ 5480 h 5604"/>
              <a:gd name="T70" fmla="*/ 4401 w 6191"/>
              <a:gd name="T71" fmla="*/ 4975 h 5604"/>
              <a:gd name="T72" fmla="*/ 4431 w 6191"/>
              <a:gd name="T73" fmla="*/ 4316 h 5604"/>
              <a:gd name="T74" fmla="*/ 4869 w 6191"/>
              <a:gd name="T75" fmla="*/ 3858 h 5604"/>
              <a:gd name="T76" fmla="*/ 3500 w 6191"/>
              <a:gd name="T77" fmla="*/ 3858 h 5604"/>
              <a:gd name="T78" fmla="*/ 3938 w 6191"/>
              <a:gd name="T79" fmla="*/ 4316 h 5604"/>
              <a:gd name="T80" fmla="*/ 3968 w 6191"/>
              <a:gd name="T81" fmla="*/ 4975 h 5604"/>
              <a:gd name="T82" fmla="*/ 3560 w 6191"/>
              <a:gd name="T83" fmla="*/ 5480 h 5604"/>
              <a:gd name="T84" fmla="*/ 2900 w 6191"/>
              <a:gd name="T85" fmla="*/ 5583 h 5604"/>
              <a:gd name="T86" fmla="*/ 2354 w 6191"/>
              <a:gd name="T87" fmla="*/ 5227 h 5604"/>
              <a:gd name="T88" fmla="*/ 2181 w 6191"/>
              <a:gd name="T89" fmla="*/ 4587 h 5604"/>
              <a:gd name="T90" fmla="*/ 2465 w 6191"/>
              <a:gd name="T91" fmla="*/ 4017 h 5604"/>
              <a:gd name="T92" fmla="*/ 1145 w 6191"/>
              <a:gd name="T93" fmla="*/ 3030 h 5604"/>
              <a:gd name="T94" fmla="*/ 1614 w 6191"/>
              <a:gd name="T95" fmla="*/ 4082 h 5604"/>
              <a:gd name="T96" fmla="*/ 1839 w 6191"/>
              <a:gd name="T97" fmla="*/ 4685 h 5604"/>
              <a:gd name="T98" fmla="*/ 1602 w 6191"/>
              <a:gd name="T99" fmla="*/ 5301 h 5604"/>
              <a:gd name="T100" fmla="*/ 1019 w 6191"/>
              <a:gd name="T101" fmla="*/ 5600 h 5604"/>
              <a:gd name="T102" fmla="*/ 376 w 6191"/>
              <a:gd name="T103" fmla="*/ 5427 h 5604"/>
              <a:gd name="T104" fmla="*/ 21 w 6191"/>
              <a:gd name="T105" fmla="*/ 4881 h 5604"/>
              <a:gd name="T106" fmla="*/ 118 w 6191"/>
              <a:gd name="T107" fmla="*/ 4233 h 5604"/>
              <a:gd name="T108" fmla="*/ 602 w 6191"/>
              <a:gd name="T109" fmla="*/ 3821 h 5604"/>
              <a:gd name="T110" fmla="*/ 2610 w 6191"/>
              <a:gd name="T111" fmla="*/ 1700 h 5604"/>
              <a:gd name="T112" fmla="*/ 2221 w 6191"/>
              <a:gd name="T113" fmla="*/ 1201 h 5604"/>
              <a:gd name="T114" fmla="*/ 2259 w 6191"/>
              <a:gd name="T115" fmla="*/ 540 h 5604"/>
              <a:gd name="T116" fmla="*/ 2717 w 6191"/>
              <a:gd name="T117" fmla="*/ 81 h 5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191" h="5604">
                <a:moveTo>
                  <a:pt x="5273" y="4218"/>
                </a:moveTo>
                <a:lnTo>
                  <a:pt x="5204" y="4224"/>
                </a:lnTo>
                <a:lnTo>
                  <a:pt x="5138" y="4237"/>
                </a:lnTo>
                <a:lnTo>
                  <a:pt x="5076" y="4261"/>
                </a:lnTo>
                <a:lnTo>
                  <a:pt x="5019" y="4293"/>
                </a:lnTo>
                <a:lnTo>
                  <a:pt x="4967" y="4333"/>
                </a:lnTo>
                <a:lnTo>
                  <a:pt x="4921" y="4378"/>
                </a:lnTo>
                <a:lnTo>
                  <a:pt x="4882" y="4431"/>
                </a:lnTo>
                <a:lnTo>
                  <a:pt x="4850" y="4487"/>
                </a:lnTo>
                <a:lnTo>
                  <a:pt x="4827" y="4549"/>
                </a:lnTo>
                <a:lnTo>
                  <a:pt x="4812" y="4615"/>
                </a:lnTo>
                <a:lnTo>
                  <a:pt x="4807" y="4685"/>
                </a:lnTo>
                <a:lnTo>
                  <a:pt x="4812" y="4753"/>
                </a:lnTo>
                <a:lnTo>
                  <a:pt x="4827" y="4819"/>
                </a:lnTo>
                <a:lnTo>
                  <a:pt x="4850" y="4881"/>
                </a:lnTo>
                <a:lnTo>
                  <a:pt x="4882" y="4937"/>
                </a:lnTo>
                <a:lnTo>
                  <a:pt x="4921" y="4990"/>
                </a:lnTo>
                <a:lnTo>
                  <a:pt x="4967" y="5035"/>
                </a:lnTo>
                <a:lnTo>
                  <a:pt x="5019" y="5075"/>
                </a:lnTo>
                <a:lnTo>
                  <a:pt x="5076" y="5107"/>
                </a:lnTo>
                <a:lnTo>
                  <a:pt x="5138" y="5131"/>
                </a:lnTo>
                <a:lnTo>
                  <a:pt x="5204" y="5146"/>
                </a:lnTo>
                <a:lnTo>
                  <a:pt x="5273" y="5150"/>
                </a:lnTo>
                <a:lnTo>
                  <a:pt x="5341" y="5146"/>
                </a:lnTo>
                <a:lnTo>
                  <a:pt x="5407" y="5131"/>
                </a:lnTo>
                <a:lnTo>
                  <a:pt x="5469" y="5107"/>
                </a:lnTo>
                <a:lnTo>
                  <a:pt x="5525" y="5075"/>
                </a:lnTo>
                <a:lnTo>
                  <a:pt x="5578" y="5035"/>
                </a:lnTo>
                <a:lnTo>
                  <a:pt x="5623" y="4990"/>
                </a:lnTo>
                <a:lnTo>
                  <a:pt x="5662" y="4937"/>
                </a:lnTo>
                <a:lnTo>
                  <a:pt x="5694" y="4881"/>
                </a:lnTo>
                <a:lnTo>
                  <a:pt x="5719" y="4819"/>
                </a:lnTo>
                <a:lnTo>
                  <a:pt x="5732" y="4753"/>
                </a:lnTo>
                <a:lnTo>
                  <a:pt x="5738" y="4685"/>
                </a:lnTo>
                <a:lnTo>
                  <a:pt x="5732" y="4615"/>
                </a:lnTo>
                <a:lnTo>
                  <a:pt x="5719" y="4549"/>
                </a:lnTo>
                <a:lnTo>
                  <a:pt x="5694" y="4487"/>
                </a:lnTo>
                <a:lnTo>
                  <a:pt x="5662" y="4431"/>
                </a:lnTo>
                <a:lnTo>
                  <a:pt x="5623" y="4378"/>
                </a:lnTo>
                <a:lnTo>
                  <a:pt x="5578" y="4333"/>
                </a:lnTo>
                <a:lnTo>
                  <a:pt x="5525" y="4293"/>
                </a:lnTo>
                <a:lnTo>
                  <a:pt x="5469" y="4261"/>
                </a:lnTo>
                <a:lnTo>
                  <a:pt x="5407" y="4237"/>
                </a:lnTo>
                <a:lnTo>
                  <a:pt x="5341" y="4224"/>
                </a:lnTo>
                <a:lnTo>
                  <a:pt x="5273" y="4218"/>
                </a:lnTo>
                <a:close/>
                <a:moveTo>
                  <a:pt x="3095" y="4218"/>
                </a:moveTo>
                <a:lnTo>
                  <a:pt x="3028" y="4224"/>
                </a:lnTo>
                <a:lnTo>
                  <a:pt x="2962" y="4237"/>
                </a:lnTo>
                <a:lnTo>
                  <a:pt x="2900" y="4261"/>
                </a:lnTo>
                <a:lnTo>
                  <a:pt x="2842" y="4293"/>
                </a:lnTo>
                <a:lnTo>
                  <a:pt x="2791" y="4333"/>
                </a:lnTo>
                <a:lnTo>
                  <a:pt x="2744" y="4378"/>
                </a:lnTo>
                <a:lnTo>
                  <a:pt x="2706" y="4431"/>
                </a:lnTo>
                <a:lnTo>
                  <a:pt x="2674" y="4487"/>
                </a:lnTo>
                <a:lnTo>
                  <a:pt x="2650" y="4549"/>
                </a:lnTo>
                <a:lnTo>
                  <a:pt x="2635" y="4615"/>
                </a:lnTo>
                <a:lnTo>
                  <a:pt x="2631" y="4685"/>
                </a:lnTo>
                <a:lnTo>
                  <a:pt x="2635" y="4753"/>
                </a:lnTo>
                <a:lnTo>
                  <a:pt x="2650" y="4819"/>
                </a:lnTo>
                <a:lnTo>
                  <a:pt x="2674" y="4881"/>
                </a:lnTo>
                <a:lnTo>
                  <a:pt x="2706" y="4937"/>
                </a:lnTo>
                <a:lnTo>
                  <a:pt x="2744" y="4990"/>
                </a:lnTo>
                <a:lnTo>
                  <a:pt x="2791" y="5035"/>
                </a:lnTo>
                <a:lnTo>
                  <a:pt x="2842" y="5075"/>
                </a:lnTo>
                <a:lnTo>
                  <a:pt x="2900" y="5107"/>
                </a:lnTo>
                <a:lnTo>
                  <a:pt x="2962" y="5131"/>
                </a:lnTo>
                <a:lnTo>
                  <a:pt x="3028" y="5146"/>
                </a:lnTo>
                <a:lnTo>
                  <a:pt x="3095" y="5150"/>
                </a:lnTo>
                <a:lnTo>
                  <a:pt x="3165" y="5146"/>
                </a:lnTo>
                <a:lnTo>
                  <a:pt x="3231" y="5131"/>
                </a:lnTo>
                <a:lnTo>
                  <a:pt x="3293" y="5107"/>
                </a:lnTo>
                <a:lnTo>
                  <a:pt x="3349" y="5075"/>
                </a:lnTo>
                <a:lnTo>
                  <a:pt x="3402" y="5035"/>
                </a:lnTo>
                <a:lnTo>
                  <a:pt x="3447" y="4990"/>
                </a:lnTo>
                <a:lnTo>
                  <a:pt x="3487" y="4937"/>
                </a:lnTo>
                <a:lnTo>
                  <a:pt x="3519" y="4881"/>
                </a:lnTo>
                <a:lnTo>
                  <a:pt x="3541" y="4819"/>
                </a:lnTo>
                <a:lnTo>
                  <a:pt x="3556" y="4753"/>
                </a:lnTo>
                <a:lnTo>
                  <a:pt x="3562" y="4685"/>
                </a:lnTo>
                <a:lnTo>
                  <a:pt x="3556" y="4615"/>
                </a:lnTo>
                <a:lnTo>
                  <a:pt x="3541" y="4549"/>
                </a:lnTo>
                <a:lnTo>
                  <a:pt x="3519" y="4487"/>
                </a:lnTo>
                <a:lnTo>
                  <a:pt x="3487" y="4431"/>
                </a:lnTo>
                <a:lnTo>
                  <a:pt x="3447" y="4378"/>
                </a:lnTo>
                <a:lnTo>
                  <a:pt x="3402" y="4333"/>
                </a:lnTo>
                <a:lnTo>
                  <a:pt x="3349" y="4293"/>
                </a:lnTo>
                <a:lnTo>
                  <a:pt x="3293" y="4261"/>
                </a:lnTo>
                <a:lnTo>
                  <a:pt x="3231" y="4237"/>
                </a:lnTo>
                <a:lnTo>
                  <a:pt x="3165" y="4224"/>
                </a:lnTo>
                <a:lnTo>
                  <a:pt x="3095" y="4218"/>
                </a:lnTo>
                <a:close/>
                <a:moveTo>
                  <a:pt x="920" y="4218"/>
                </a:moveTo>
                <a:lnTo>
                  <a:pt x="850" y="4224"/>
                </a:lnTo>
                <a:lnTo>
                  <a:pt x="784" y="4237"/>
                </a:lnTo>
                <a:lnTo>
                  <a:pt x="724" y="4261"/>
                </a:lnTo>
                <a:lnTo>
                  <a:pt x="666" y="4293"/>
                </a:lnTo>
                <a:lnTo>
                  <a:pt x="615" y="4333"/>
                </a:lnTo>
                <a:lnTo>
                  <a:pt x="568" y="4378"/>
                </a:lnTo>
                <a:lnTo>
                  <a:pt x="528" y="4431"/>
                </a:lnTo>
                <a:lnTo>
                  <a:pt x="496" y="4487"/>
                </a:lnTo>
                <a:lnTo>
                  <a:pt x="474" y="4549"/>
                </a:lnTo>
                <a:lnTo>
                  <a:pt x="459" y="4615"/>
                </a:lnTo>
                <a:lnTo>
                  <a:pt x="453" y="4685"/>
                </a:lnTo>
                <a:lnTo>
                  <a:pt x="459" y="4753"/>
                </a:lnTo>
                <a:lnTo>
                  <a:pt x="474" y="4819"/>
                </a:lnTo>
                <a:lnTo>
                  <a:pt x="496" y="4881"/>
                </a:lnTo>
                <a:lnTo>
                  <a:pt x="528" y="4937"/>
                </a:lnTo>
                <a:lnTo>
                  <a:pt x="568" y="4990"/>
                </a:lnTo>
                <a:lnTo>
                  <a:pt x="615" y="5035"/>
                </a:lnTo>
                <a:lnTo>
                  <a:pt x="666" y="5075"/>
                </a:lnTo>
                <a:lnTo>
                  <a:pt x="724" y="5107"/>
                </a:lnTo>
                <a:lnTo>
                  <a:pt x="784" y="5131"/>
                </a:lnTo>
                <a:lnTo>
                  <a:pt x="850" y="5146"/>
                </a:lnTo>
                <a:lnTo>
                  <a:pt x="920" y="5150"/>
                </a:lnTo>
                <a:lnTo>
                  <a:pt x="987" y="5146"/>
                </a:lnTo>
                <a:lnTo>
                  <a:pt x="1053" y="5131"/>
                </a:lnTo>
                <a:lnTo>
                  <a:pt x="1115" y="5107"/>
                </a:lnTo>
                <a:lnTo>
                  <a:pt x="1173" y="5075"/>
                </a:lnTo>
                <a:lnTo>
                  <a:pt x="1224" y="5035"/>
                </a:lnTo>
                <a:lnTo>
                  <a:pt x="1271" y="4990"/>
                </a:lnTo>
                <a:lnTo>
                  <a:pt x="1309" y="4937"/>
                </a:lnTo>
                <a:lnTo>
                  <a:pt x="1341" y="4881"/>
                </a:lnTo>
                <a:lnTo>
                  <a:pt x="1365" y="4819"/>
                </a:lnTo>
                <a:lnTo>
                  <a:pt x="1380" y="4753"/>
                </a:lnTo>
                <a:lnTo>
                  <a:pt x="1384" y="4685"/>
                </a:lnTo>
                <a:lnTo>
                  <a:pt x="1380" y="4615"/>
                </a:lnTo>
                <a:lnTo>
                  <a:pt x="1365" y="4549"/>
                </a:lnTo>
                <a:lnTo>
                  <a:pt x="1341" y="4487"/>
                </a:lnTo>
                <a:lnTo>
                  <a:pt x="1309" y="4431"/>
                </a:lnTo>
                <a:lnTo>
                  <a:pt x="1271" y="4378"/>
                </a:lnTo>
                <a:lnTo>
                  <a:pt x="1224" y="4333"/>
                </a:lnTo>
                <a:lnTo>
                  <a:pt x="1173" y="4293"/>
                </a:lnTo>
                <a:lnTo>
                  <a:pt x="1115" y="4261"/>
                </a:lnTo>
                <a:lnTo>
                  <a:pt x="1053" y="4237"/>
                </a:lnTo>
                <a:lnTo>
                  <a:pt x="987" y="4224"/>
                </a:lnTo>
                <a:lnTo>
                  <a:pt x="920" y="4218"/>
                </a:lnTo>
                <a:close/>
                <a:moveTo>
                  <a:pt x="3095" y="454"/>
                </a:moveTo>
                <a:lnTo>
                  <a:pt x="3028" y="459"/>
                </a:lnTo>
                <a:lnTo>
                  <a:pt x="2962" y="475"/>
                </a:lnTo>
                <a:lnTo>
                  <a:pt x="2900" y="497"/>
                </a:lnTo>
                <a:lnTo>
                  <a:pt x="2842" y="529"/>
                </a:lnTo>
                <a:lnTo>
                  <a:pt x="2791" y="569"/>
                </a:lnTo>
                <a:lnTo>
                  <a:pt x="2744" y="614"/>
                </a:lnTo>
                <a:lnTo>
                  <a:pt x="2706" y="667"/>
                </a:lnTo>
                <a:lnTo>
                  <a:pt x="2674" y="723"/>
                </a:lnTo>
                <a:lnTo>
                  <a:pt x="2650" y="785"/>
                </a:lnTo>
                <a:lnTo>
                  <a:pt x="2635" y="851"/>
                </a:lnTo>
                <a:lnTo>
                  <a:pt x="2631" y="919"/>
                </a:lnTo>
                <a:lnTo>
                  <a:pt x="2635" y="989"/>
                </a:lnTo>
                <a:lnTo>
                  <a:pt x="2650" y="1055"/>
                </a:lnTo>
                <a:lnTo>
                  <a:pt x="2674" y="1117"/>
                </a:lnTo>
                <a:lnTo>
                  <a:pt x="2706" y="1173"/>
                </a:lnTo>
                <a:lnTo>
                  <a:pt x="2744" y="1226"/>
                </a:lnTo>
                <a:lnTo>
                  <a:pt x="2791" y="1271"/>
                </a:lnTo>
                <a:lnTo>
                  <a:pt x="2842" y="1311"/>
                </a:lnTo>
                <a:lnTo>
                  <a:pt x="2900" y="1343"/>
                </a:lnTo>
                <a:lnTo>
                  <a:pt x="2962" y="1367"/>
                </a:lnTo>
                <a:lnTo>
                  <a:pt x="3028" y="1380"/>
                </a:lnTo>
                <a:lnTo>
                  <a:pt x="3095" y="1386"/>
                </a:lnTo>
                <a:lnTo>
                  <a:pt x="3165" y="1380"/>
                </a:lnTo>
                <a:lnTo>
                  <a:pt x="3231" y="1367"/>
                </a:lnTo>
                <a:lnTo>
                  <a:pt x="3293" y="1343"/>
                </a:lnTo>
                <a:lnTo>
                  <a:pt x="3349" y="1311"/>
                </a:lnTo>
                <a:lnTo>
                  <a:pt x="3402" y="1271"/>
                </a:lnTo>
                <a:lnTo>
                  <a:pt x="3447" y="1226"/>
                </a:lnTo>
                <a:lnTo>
                  <a:pt x="3487" y="1173"/>
                </a:lnTo>
                <a:lnTo>
                  <a:pt x="3519" y="1117"/>
                </a:lnTo>
                <a:lnTo>
                  <a:pt x="3541" y="1055"/>
                </a:lnTo>
                <a:lnTo>
                  <a:pt x="3556" y="989"/>
                </a:lnTo>
                <a:lnTo>
                  <a:pt x="3562" y="919"/>
                </a:lnTo>
                <a:lnTo>
                  <a:pt x="3556" y="851"/>
                </a:lnTo>
                <a:lnTo>
                  <a:pt x="3541" y="785"/>
                </a:lnTo>
                <a:lnTo>
                  <a:pt x="3519" y="723"/>
                </a:lnTo>
                <a:lnTo>
                  <a:pt x="3487" y="667"/>
                </a:lnTo>
                <a:lnTo>
                  <a:pt x="3447" y="614"/>
                </a:lnTo>
                <a:lnTo>
                  <a:pt x="3402" y="569"/>
                </a:lnTo>
                <a:lnTo>
                  <a:pt x="3349" y="529"/>
                </a:lnTo>
                <a:lnTo>
                  <a:pt x="3293" y="497"/>
                </a:lnTo>
                <a:lnTo>
                  <a:pt x="3231" y="475"/>
                </a:lnTo>
                <a:lnTo>
                  <a:pt x="3165" y="459"/>
                </a:lnTo>
                <a:lnTo>
                  <a:pt x="3095" y="454"/>
                </a:lnTo>
                <a:close/>
                <a:moveTo>
                  <a:pt x="3095" y="0"/>
                </a:moveTo>
                <a:lnTo>
                  <a:pt x="3195" y="6"/>
                </a:lnTo>
                <a:lnTo>
                  <a:pt x="3293" y="21"/>
                </a:lnTo>
                <a:lnTo>
                  <a:pt x="3387" y="47"/>
                </a:lnTo>
                <a:lnTo>
                  <a:pt x="3475" y="81"/>
                </a:lnTo>
                <a:lnTo>
                  <a:pt x="3560" y="124"/>
                </a:lnTo>
                <a:lnTo>
                  <a:pt x="3639" y="177"/>
                </a:lnTo>
                <a:lnTo>
                  <a:pt x="3712" y="237"/>
                </a:lnTo>
                <a:lnTo>
                  <a:pt x="3778" y="303"/>
                </a:lnTo>
                <a:lnTo>
                  <a:pt x="3838" y="377"/>
                </a:lnTo>
                <a:lnTo>
                  <a:pt x="3889" y="456"/>
                </a:lnTo>
                <a:lnTo>
                  <a:pt x="3932" y="540"/>
                </a:lnTo>
                <a:lnTo>
                  <a:pt x="3968" y="629"/>
                </a:lnTo>
                <a:lnTo>
                  <a:pt x="3994" y="723"/>
                </a:lnTo>
                <a:lnTo>
                  <a:pt x="4009" y="819"/>
                </a:lnTo>
                <a:lnTo>
                  <a:pt x="4015" y="919"/>
                </a:lnTo>
                <a:lnTo>
                  <a:pt x="4009" y="1017"/>
                </a:lnTo>
                <a:lnTo>
                  <a:pt x="3994" y="1111"/>
                </a:lnTo>
                <a:lnTo>
                  <a:pt x="3970" y="1201"/>
                </a:lnTo>
                <a:lnTo>
                  <a:pt x="3938" y="1288"/>
                </a:lnTo>
                <a:lnTo>
                  <a:pt x="3897" y="1371"/>
                </a:lnTo>
                <a:lnTo>
                  <a:pt x="3848" y="1450"/>
                </a:lnTo>
                <a:lnTo>
                  <a:pt x="3791" y="1522"/>
                </a:lnTo>
                <a:lnTo>
                  <a:pt x="3727" y="1587"/>
                </a:lnTo>
                <a:lnTo>
                  <a:pt x="3658" y="1648"/>
                </a:lnTo>
                <a:lnTo>
                  <a:pt x="3581" y="1700"/>
                </a:lnTo>
                <a:lnTo>
                  <a:pt x="3500" y="1746"/>
                </a:lnTo>
                <a:lnTo>
                  <a:pt x="3413" y="1783"/>
                </a:lnTo>
                <a:lnTo>
                  <a:pt x="3323" y="1812"/>
                </a:lnTo>
                <a:lnTo>
                  <a:pt x="3323" y="2574"/>
                </a:lnTo>
                <a:lnTo>
                  <a:pt x="5499" y="2574"/>
                </a:lnTo>
                <a:lnTo>
                  <a:pt x="5499" y="3792"/>
                </a:lnTo>
                <a:lnTo>
                  <a:pt x="5589" y="3821"/>
                </a:lnTo>
                <a:lnTo>
                  <a:pt x="5676" y="3858"/>
                </a:lnTo>
                <a:lnTo>
                  <a:pt x="5756" y="3904"/>
                </a:lnTo>
                <a:lnTo>
                  <a:pt x="5834" y="3956"/>
                </a:lnTo>
                <a:lnTo>
                  <a:pt x="5903" y="4017"/>
                </a:lnTo>
                <a:lnTo>
                  <a:pt x="5967" y="4082"/>
                </a:lnTo>
                <a:lnTo>
                  <a:pt x="6023" y="4154"/>
                </a:lnTo>
                <a:lnTo>
                  <a:pt x="6072" y="4233"/>
                </a:lnTo>
                <a:lnTo>
                  <a:pt x="6114" y="4316"/>
                </a:lnTo>
                <a:lnTo>
                  <a:pt x="6148" y="4403"/>
                </a:lnTo>
                <a:lnTo>
                  <a:pt x="6172" y="4493"/>
                </a:lnTo>
                <a:lnTo>
                  <a:pt x="6187" y="4587"/>
                </a:lnTo>
                <a:lnTo>
                  <a:pt x="6191" y="4685"/>
                </a:lnTo>
                <a:lnTo>
                  <a:pt x="6187" y="4785"/>
                </a:lnTo>
                <a:lnTo>
                  <a:pt x="6170" y="4881"/>
                </a:lnTo>
                <a:lnTo>
                  <a:pt x="6146" y="4975"/>
                </a:lnTo>
                <a:lnTo>
                  <a:pt x="6110" y="5064"/>
                </a:lnTo>
                <a:lnTo>
                  <a:pt x="6067" y="5148"/>
                </a:lnTo>
                <a:lnTo>
                  <a:pt x="6014" y="5227"/>
                </a:lnTo>
                <a:lnTo>
                  <a:pt x="5954" y="5301"/>
                </a:lnTo>
                <a:lnTo>
                  <a:pt x="5888" y="5367"/>
                </a:lnTo>
                <a:lnTo>
                  <a:pt x="5815" y="5427"/>
                </a:lnTo>
                <a:lnTo>
                  <a:pt x="5736" y="5480"/>
                </a:lnTo>
                <a:lnTo>
                  <a:pt x="5651" y="5523"/>
                </a:lnTo>
                <a:lnTo>
                  <a:pt x="5563" y="5557"/>
                </a:lnTo>
                <a:lnTo>
                  <a:pt x="5469" y="5583"/>
                </a:lnTo>
                <a:lnTo>
                  <a:pt x="5373" y="5600"/>
                </a:lnTo>
                <a:lnTo>
                  <a:pt x="5273" y="5604"/>
                </a:lnTo>
                <a:lnTo>
                  <a:pt x="5172" y="5600"/>
                </a:lnTo>
                <a:lnTo>
                  <a:pt x="5076" y="5583"/>
                </a:lnTo>
                <a:lnTo>
                  <a:pt x="4982" y="5557"/>
                </a:lnTo>
                <a:lnTo>
                  <a:pt x="4893" y="5523"/>
                </a:lnTo>
                <a:lnTo>
                  <a:pt x="4809" y="5480"/>
                </a:lnTo>
                <a:lnTo>
                  <a:pt x="4730" y="5427"/>
                </a:lnTo>
                <a:lnTo>
                  <a:pt x="4656" y="5367"/>
                </a:lnTo>
                <a:lnTo>
                  <a:pt x="4590" y="5301"/>
                </a:lnTo>
                <a:lnTo>
                  <a:pt x="4530" y="5227"/>
                </a:lnTo>
                <a:lnTo>
                  <a:pt x="4478" y="5148"/>
                </a:lnTo>
                <a:lnTo>
                  <a:pt x="4434" y="5064"/>
                </a:lnTo>
                <a:lnTo>
                  <a:pt x="4401" y="4975"/>
                </a:lnTo>
                <a:lnTo>
                  <a:pt x="4374" y="4881"/>
                </a:lnTo>
                <a:lnTo>
                  <a:pt x="4357" y="4785"/>
                </a:lnTo>
                <a:lnTo>
                  <a:pt x="4354" y="4685"/>
                </a:lnTo>
                <a:lnTo>
                  <a:pt x="4357" y="4587"/>
                </a:lnTo>
                <a:lnTo>
                  <a:pt x="4372" y="4493"/>
                </a:lnTo>
                <a:lnTo>
                  <a:pt x="4397" y="4403"/>
                </a:lnTo>
                <a:lnTo>
                  <a:pt x="4431" y="4316"/>
                </a:lnTo>
                <a:lnTo>
                  <a:pt x="4472" y="4233"/>
                </a:lnTo>
                <a:lnTo>
                  <a:pt x="4521" y="4154"/>
                </a:lnTo>
                <a:lnTo>
                  <a:pt x="4577" y="4082"/>
                </a:lnTo>
                <a:lnTo>
                  <a:pt x="4641" y="4017"/>
                </a:lnTo>
                <a:lnTo>
                  <a:pt x="4711" y="3956"/>
                </a:lnTo>
                <a:lnTo>
                  <a:pt x="4788" y="3904"/>
                </a:lnTo>
                <a:lnTo>
                  <a:pt x="4869" y="3858"/>
                </a:lnTo>
                <a:lnTo>
                  <a:pt x="4955" y="3821"/>
                </a:lnTo>
                <a:lnTo>
                  <a:pt x="5046" y="3792"/>
                </a:lnTo>
                <a:lnTo>
                  <a:pt x="5046" y="3030"/>
                </a:lnTo>
                <a:lnTo>
                  <a:pt x="3323" y="3030"/>
                </a:lnTo>
                <a:lnTo>
                  <a:pt x="3323" y="3792"/>
                </a:lnTo>
                <a:lnTo>
                  <a:pt x="3413" y="3821"/>
                </a:lnTo>
                <a:lnTo>
                  <a:pt x="3500" y="3858"/>
                </a:lnTo>
                <a:lnTo>
                  <a:pt x="3581" y="3904"/>
                </a:lnTo>
                <a:lnTo>
                  <a:pt x="3658" y="3956"/>
                </a:lnTo>
                <a:lnTo>
                  <a:pt x="3727" y="4017"/>
                </a:lnTo>
                <a:lnTo>
                  <a:pt x="3791" y="4082"/>
                </a:lnTo>
                <a:lnTo>
                  <a:pt x="3848" y="4154"/>
                </a:lnTo>
                <a:lnTo>
                  <a:pt x="3897" y="4233"/>
                </a:lnTo>
                <a:lnTo>
                  <a:pt x="3938" y="4316"/>
                </a:lnTo>
                <a:lnTo>
                  <a:pt x="3970" y="4403"/>
                </a:lnTo>
                <a:lnTo>
                  <a:pt x="3994" y="4493"/>
                </a:lnTo>
                <a:lnTo>
                  <a:pt x="4009" y="4587"/>
                </a:lnTo>
                <a:lnTo>
                  <a:pt x="4015" y="4685"/>
                </a:lnTo>
                <a:lnTo>
                  <a:pt x="4009" y="4785"/>
                </a:lnTo>
                <a:lnTo>
                  <a:pt x="3994" y="4881"/>
                </a:lnTo>
                <a:lnTo>
                  <a:pt x="3968" y="4975"/>
                </a:lnTo>
                <a:lnTo>
                  <a:pt x="3932" y="5064"/>
                </a:lnTo>
                <a:lnTo>
                  <a:pt x="3889" y="5148"/>
                </a:lnTo>
                <a:lnTo>
                  <a:pt x="3838" y="5227"/>
                </a:lnTo>
                <a:lnTo>
                  <a:pt x="3778" y="5301"/>
                </a:lnTo>
                <a:lnTo>
                  <a:pt x="3712" y="5367"/>
                </a:lnTo>
                <a:lnTo>
                  <a:pt x="3639" y="5427"/>
                </a:lnTo>
                <a:lnTo>
                  <a:pt x="3560" y="5480"/>
                </a:lnTo>
                <a:lnTo>
                  <a:pt x="3475" y="5523"/>
                </a:lnTo>
                <a:lnTo>
                  <a:pt x="3387" y="5557"/>
                </a:lnTo>
                <a:lnTo>
                  <a:pt x="3293" y="5583"/>
                </a:lnTo>
                <a:lnTo>
                  <a:pt x="3195" y="5600"/>
                </a:lnTo>
                <a:lnTo>
                  <a:pt x="3095" y="5604"/>
                </a:lnTo>
                <a:lnTo>
                  <a:pt x="2996" y="5600"/>
                </a:lnTo>
                <a:lnTo>
                  <a:pt x="2900" y="5583"/>
                </a:lnTo>
                <a:lnTo>
                  <a:pt x="2806" y="5557"/>
                </a:lnTo>
                <a:lnTo>
                  <a:pt x="2717" y="5523"/>
                </a:lnTo>
                <a:lnTo>
                  <a:pt x="2633" y="5480"/>
                </a:lnTo>
                <a:lnTo>
                  <a:pt x="2554" y="5427"/>
                </a:lnTo>
                <a:lnTo>
                  <a:pt x="2480" y="5367"/>
                </a:lnTo>
                <a:lnTo>
                  <a:pt x="2415" y="5301"/>
                </a:lnTo>
                <a:lnTo>
                  <a:pt x="2354" y="5227"/>
                </a:lnTo>
                <a:lnTo>
                  <a:pt x="2302" y="5148"/>
                </a:lnTo>
                <a:lnTo>
                  <a:pt x="2259" y="5064"/>
                </a:lnTo>
                <a:lnTo>
                  <a:pt x="2223" y="4975"/>
                </a:lnTo>
                <a:lnTo>
                  <a:pt x="2198" y="4881"/>
                </a:lnTo>
                <a:lnTo>
                  <a:pt x="2181" y="4785"/>
                </a:lnTo>
                <a:lnTo>
                  <a:pt x="2176" y="4685"/>
                </a:lnTo>
                <a:lnTo>
                  <a:pt x="2181" y="4587"/>
                </a:lnTo>
                <a:lnTo>
                  <a:pt x="2197" y="4493"/>
                </a:lnTo>
                <a:lnTo>
                  <a:pt x="2221" y="4403"/>
                </a:lnTo>
                <a:lnTo>
                  <a:pt x="2255" y="4316"/>
                </a:lnTo>
                <a:lnTo>
                  <a:pt x="2296" y="4233"/>
                </a:lnTo>
                <a:lnTo>
                  <a:pt x="2345" y="4154"/>
                </a:lnTo>
                <a:lnTo>
                  <a:pt x="2401" y="4082"/>
                </a:lnTo>
                <a:lnTo>
                  <a:pt x="2465" y="4017"/>
                </a:lnTo>
                <a:lnTo>
                  <a:pt x="2535" y="3956"/>
                </a:lnTo>
                <a:lnTo>
                  <a:pt x="2610" y="3904"/>
                </a:lnTo>
                <a:lnTo>
                  <a:pt x="2691" y="3858"/>
                </a:lnTo>
                <a:lnTo>
                  <a:pt x="2778" y="3821"/>
                </a:lnTo>
                <a:lnTo>
                  <a:pt x="2870" y="3792"/>
                </a:lnTo>
                <a:lnTo>
                  <a:pt x="2870" y="3030"/>
                </a:lnTo>
                <a:lnTo>
                  <a:pt x="1145" y="3030"/>
                </a:lnTo>
                <a:lnTo>
                  <a:pt x="1145" y="3792"/>
                </a:lnTo>
                <a:lnTo>
                  <a:pt x="1237" y="3821"/>
                </a:lnTo>
                <a:lnTo>
                  <a:pt x="1324" y="3858"/>
                </a:lnTo>
                <a:lnTo>
                  <a:pt x="1405" y="3904"/>
                </a:lnTo>
                <a:lnTo>
                  <a:pt x="1480" y="3956"/>
                </a:lnTo>
                <a:lnTo>
                  <a:pt x="1550" y="4017"/>
                </a:lnTo>
                <a:lnTo>
                  <a:pt x="1614" y="4082"/>
                </a:lnTo>
                <a:lnTo>
                  <a:pt x="1670" y="4154"/>
                </a:lnTo>
                <a:lnTo>
                  <a:pt x="1721" y="4233"/>
                </a:lnTo>
                <a:lnTo>
                  <a:pt x="1762" y="4316"/>
                </a:lnTo>
                <a:lnTo>
                  <a:pt x="1794" y="4403"/>
                </a:lnTo>
                <a:lnTo>
                  <a:pt x="1819" y="4493"/>
                </a:lnTo>
                <a:lnTo>
                  <a:pt x="1834" y="4587"/>
                </a:lnTo>
                <a:lnTo>
                  <a:pt x="1839" y="4685"/>
                </a:lnTo>
                <a:lnTo>
                  <a:pt x="1834" y="4785"/>
                </a:lnTo>
                <a:lnTo>
                  <a:pt x="1819" y="4881"/>
                </a:lnTo>
                <a:lnTo>
                  <a:pt x="1792" y="4975"/>
                </a:lnTo>
                <a:lnTo>
                  <a:pt x="1756" y="5064"/>
                </a:lnTo>
                <a:lnTo>
                  <a:pt x="1713" y="5148"/>
                </a:lnTo>
                <a:lnTo>
                  <a:pt x="1661" y="5227"/>
                </a:lnTo>
                <a:lnTo>
                  <a:pt x="1602" y="5301"/>
                </a:lnTo>
                <a:lnTo>
                  <a:pt x="1535" y="5367"/>
                </a:lnTo>
                <a:lnTo>
                  <a:pt x="1461" y="5427"/>
                </a:lnTo>
                <a:lnTo>
                  <a:pt x="1382" y="5480"/>
                </a:lnTo>
                <a:lnTo>
                  <a:pt x="1299" y="5523"/>
                </a:lnTo>
                <a:lnTo>
                  <a:pt x="1209" y="5557"/>
                </a:lnTo>
                <a:lnTo>
                  <a:pt x="1117" y="5583"/>
                </a:lnTo>
                <a:lnTo>
                  <a:pt x="1019" y="5600"/>
                </a:lnTo>
                <a:lnTo>
                  <a:pt x="920" y="5604"/>
                </a:lnTo>
                <a:lnTo>
                  <a:pt x="820" y="5600"/>
                </a:lnTo>
                <a:lnTo>
                  <a:pt x="722" y="5583"/>
                </a:lnTo>
                <a:lnTo>
                  <a:pt x="628" y="5557"/>
                </a:lnTo>
                <a:lnTo>
                  <a:pt x="540" y="5523"/>
                </a:lnTo>
                <a:lnTo>
                  <a:pt x="455" y="5480"/>
                </a:lnTo>
                <a:lnTo>
                  <a:pt x="376" y="5427"/>
                </a:lnTo>
                <a:lnTo>
                  <a:pt x="303" y="5367"/>
                </a:lnTo>
                <a:lnTo>
                  <a:pt x="237" y="5301"/>
                </a:lnTo>
                <a:lnTo>
                  <a:pt x="177" y="5227"/>
                </a:lnTo>
                <a:lnTo>
                  <a:pt x="126" y="5148"/>
                </a:lnTo>
                <a:lnTo>
                  <a:pt x="83" y="5064"/>
                </a:lnTo>
                <a:lnTo>
                  <a:pt x="47" y="4975"/>
                </a:lnTo>
                <a:lnTo>
                  <a:pt x="21" y="4881"/>
                </a:lnTo>
                <a:lnTo>
                  <a:pt x="6" y="4785"/>
                </a:lnTo>
                <a:lnTo>
                  <a:pt x="0" y="4685"/>
                </a:lnTo>
                <a:lnTo>
                  <a:pt x="6" y="4587"/>
                </a:lnTo>
                <a:lnTo>
                  <a:pt x="21" y="4493"/>
                </a:lnTo>
                <a:lnTo>
                  <a:pt x="45" y="4403"/>
                </a:lnTo>
                <a:lnTo>
                  <a:pt x="77" y="4316"/>
                </a:lnTo>
                <a:lnTo>
                  <a:pt x="118" y="4233"/>
                </a:lnTo>
                <a:lnTo>
                  <a:pt x="167" y="4154"/>
                </a:lnTo>
                <a:lnTo>
                  <a:pt x="226" y="4082"/>
                </a:lnTo>
                <a:lnTo>
                  <a:pt x="288" y="4017"/>
                </a:lnTo>
                <a:lnTo>
                  <a:pt x="359" y="3956"/>
                </a:lnTo>
                <a:lnTo>
                  <a:pt x="434" y="3904"/>
                </a:lnTo>
                <a:lnTo>
                  <a:pt x="515" y="3858"/>
                </a:lnTo>
                <a:lnTo>
                  <a:pt x="602" y="3821"/>
                </a:lnTo>
                <a:lnTo>
                  <a:pt x="692" y="3792"/>
                </a:lnTo>
                <a:lnTo>
                  <a:pt x="692" y="2574"/>
                </a:lnTo>
                <a:lnTo>
                  <a:pt x="2870" y="2574"/>
                </a:lnTo>
                <a:lnTo>
                  <a:pt x="2870" y="1812"/>
                </a:lnTo>
                <a:lnTo>
                  <a:pt x="2778" y="1783"/>
                </a:lnTo>
                <a:lnTo>
                  <a:pt x="2691" y="1746"/>
                </a:lnTo>
                <a:lnTo>
                  <a:pt x="2610" y="1700"/>
                </a:lnTo>
                <a:lnTo>
                  <a:pt x="2535" y="1648"/>
                </a:lnTo>
                <a:lnTo>
                  <a:pt x="2465" y="1587"/>
                </a:lnTo>
                <a:lnTo>
                  <a:pt x="2401" y="1522"/>
                </a:lnTo>
                <a:lnTo>
                  <a:pt x="2345" y="1450"/>
                </a:lnTo>
                <a:lnTo>
                  <a:pt x="2296" y="1371"/>
                </a:lnTo>
                <a:lnTo>
                  <a:pt x="2255" y="1288"/>
                </a:lnTo>
                <a:lnTo>
                  <a:pt x="2221" y="1201"/>
                </a:lnTo>
                <a:lnTo>
                  <a:pt x="2197" y="1111"/>
                </a:lnTo>
                <a:lnTo>
                  <a:pt x="2181" y="1017"/>
                </a:lnTo>
                <a:lnTo>
                  <a:pt x="2176" y="919"/>
                </a:lnTo>
                <a:lnTo>
                  <a:pt x="2181" y="819"/>
                </a:lnTo>
                <a:lnTo>
                  <a:pt x="2198" y="723"/>
                </a:lnTo>
                <a:lnTo>
                  <a:pt x="2223" y="629"/>
                </a:lnTo>
                <a:lnTo>
                  <a:pt x="2259" y="540"/>
                </a:lnTo>
                <a:lnTo>
                  <a:pt x="2302" y="456"/>
                </a:lnTo>
                <a:lnTo>
                  <a:pt x="2354" y="377"/>
                </a:lnTo>
                <a:lnTo>
                  <a:pt x="2415" y="303"/>
                </a:lnTo>
                <a:lnTo>
                  <a:pt x="2480" y="237"/>
                </a:lnTo>
                <a:lnTo>
                  <a:pt x="2554" y="177"/>
                </a:lnTo>
                <a:lnTo>
                  <a:pt x="2633" y="124"/>
                </a:lnTo>
                <a:lnTo>
                  <a:pt x="2717" y="81"/>
                </a:lnTo>
                <a:lnTo>
                  <a:pt x="2806" y="47"/>
                </a:lnTo>
                <a:lnTo>
                  <a:pt x="2900" y="21"/>
                </a:lnTo>
                <a:lnTo>
                  <a:pt x="2996" y="6"/>
                </a:lnTo>
                <a:lnTo>
                  <a:pt x="309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IN"/>
          </a:p>
        </p:txBody>
      </p:sp>
      <p:sp>
        <p:nvSpPr>
          <p:cNvPr id="93" name="TextBox 92"/>
          <p:cNvSpPr txBox="1"/>
          <p:nvPr/>
        </p:nvSpPr>
        <p:spPr>
          <a:xfrm>
            <a:off x="7346950" y="3933190"/>
            <a:ext cx="4579620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PHÂN BỐ THEO LỘ TRÌNH GIÁO VIÊN/ NHÂN VIÊN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3" name="Content Placeholder 2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840740" y="4331970"/>
            <a:ext cx="3839210" cy="235204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705" y="4147820"/>
            <a:ext cx="4942205" cy="27101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3125" y="1318260"/>
            <a:ext cx="5267325" cy="2614295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79055" y="1342390"/>
            <a:ext cx="4424045" cy="2471420"/>
          </a:xfrm>
          <a:prstGeom prst="rect">
            <a:avLst/>
          </a:prstGeom>
        </p:spPr>
      </p:pic>
      <p:sp>
        <p:nvSpPr>
          <p:cNvPr id="75" name="Title 74"/>
          <p:cNvSpPr/>
          <p:nvPr>
            <p:ph type="title"/>
          </p:nvPr>
        </p:nvSpPr>
        <p:spPr>
          <a:xfrm>
            <a:off x="261938" y="404495"/>
            <a:ext cx="11664949" cy="288330"/>
          </a:xfrm>
        </p:spPr>
        <p:txBody>
          <a:bodyPr/>
          <a:p>
            <a:r>
              <a:rPr lang="en-US" sz="2800">
                <a:latin typeface="Calibri" panose="020F0502020204030204" charset="0"/>
                <a:cs typeface="Calibri" panose="020F0502020204030204" charset="0"/>
              </a:rPr>
              <a:t> LỘ TRÌNH ẢNH HƯỞNG NHƯ THẾ NÀO ĐẾN PHÂN BỐ LƯƠNG ?</a:t>
            </a:r>
            <a:endParaRPr lang="en-US" sz="2800"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99" name="TextBox 15"/>
          <p:cNvSpPr txBox="1"/>
          <p:nvPr/>
        </p:nvSpPr>
        <p:spPr>
          <a:xfrm>
            <a:off x="7966710" y="857250"/>
            <a:ext cx="375539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GB" sz="1600" dirty="0"/>
              <a:t>M</a:t>
            </a:r>
            <a:r>
              <a:rPr lang="en-US" altLang="en-GB" sz="1600" dirty="0"/>
              <a:t>ỨC LƯƠNG TRUNG BÌNH CỦA TỪNG </a:t>
            </a:r>
            <a:endParaRPr lang="en-US" altLang="en-GB" sz="1600" dirty="0"/>
          </a:p>
          <a:p>
            <a:r>
              <a:rPr lang="en-US" altLang="en-GB" sz="1600" dirty="0"/>
              <a:t>LỘ TRÌNH GIÁO VIÊN/ NHÂN VIÊN</a:t>
            </a:r>
            <a:endParaRPr lang="en-US" altLang="en-GB" sz="1600" dirty="0"/>
          </a:p>
        </p:txBody>
      </p:sp>
      <p:sp>
        <p:nvSpPr>
          <p:cNvPr id="100" name="Oval 99"/>
          <p:cNvSpPr/>
          <p:nvPr/>
        </p:nvSpPr>
        <p:spPr>
          <a:xfrm>
            <a:off x="4942840" y="4581525"/>
            <a:ext cx="160655" cy="11938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101" name="Oval 100"/>
          <p:cNvSpPr/>
          <p:nvPr/>
        </p:nvSpPr>
        <p:spPr>
          <a:xfrm>
            <a:off x="4942840" y="5013325"/>
            <a:ext cx="160655" cy="11938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102" name="Oval 101"/>
          <p:cNvSpPr/>
          <p:nvPr/>
        </p:nvSpPr>
        <p:spPr>
          <a:xfrm>
            <a:off x="4942840" y="5445125"/>
            <a:ext cx="160655" cy="11938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103" name="Text Box 102"/>
          <p:cNvSpPr txBox="1"/>
          <p:nvPr/>
        </p:nvSpPr>
        <p:spPr>
          <a:xfrm>
            <a:off x="5230495" y="4437380"/>
            <a:ext cx="94424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sz="2000">
                <a:solidFill>
                  <a:srgbClr val="0070C0"/>
                </a:solidFill>
              </a:rPr>
              <a:t>88.32%</a:t>
            </a:r>
            <a:endParaRPr lang="en-US" sz="2000">
              <a:solidFill>
                <a:srgbClr val="0070C0"/>
              </a:solidFill>
            </a:endParaRPr>
          </a:p>
        </p:txBody>
      </p:sp>
      <p:sp>
        <p:nvSpPr>
          <p:cNvPr id="104" name="Text Box 103"/>
          <p:cNvSpPr txBox="1"/>
          <p:nvPr/>
        </p:nvSpPr>
        <p:spPr>
          <a:xfrm>
            <a:off x="5230495" y="4869180"/>
            <a:ext cx="94424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sz="2000">
                <a:solidFill>
                  <a:schemeClr val="accent5">
                    <a:lumMod val="60000"/>
                    <a:lumOff val="40000"/>
                  </a:schemeClr>
                </a:solidFill>
              </a:rPr>
              <a:t>11.65%</a:t>
            </a:r>
            <a:endParaRPr lang="en-US" sz="200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5" name="Text Box 104"/>
          <p:cNvSpPr txBox="1"/>
          <p:nvPr/>
        </p:nvSpPr>
        <p:spPr>
          <a:xfrm>
            <a:off x="5230495" y="5267960"/>
            <a:ext cx="81534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sz="2000">
                <a:solidFill>
                  <a:schemeClr val="accent2"/>
                </a:solidFill>
              </a:rPr>
              <a:t>0.03%</a:t>
            </a:r>
            <a:endParaRPr lang="en-US" sz="2000">
              <a:solidFill>
                <a:schemeClr val="accent2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2" imgW="8890" imgH="8890" progId="TCLayout.ActiveDocument.1">
                  <p:embed/>
                </p:oleObj>
              </mc:Choice>
              <mc:Fallback>
                <p:oleObj name="think-cell Slide" r:id="rId2" imgW="8890" imgH="8890" progId="TCLayout.ActiveDocument.1">
                  <p:embed/>
                  <p:pic>
                    <p:nvPicPr>
                      <p:cNvPr id="0" name="Object 7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6240463" y="756288"/>
            <a:ext cx="5321300" cy="542925"/>
            <a:chOff x="6053138" y="3802237"/>
            <a:chExt cx="5321300" cy="542925"/>
          </a:xfrm>
        </p:grpSpPr>
        <p:sp>
          <p:nvSpPr>
            <p:cNvPr id="209" name="TextBox 208"/>
            <p:cNvSpPr txBox="1"/>
            <p:nvPr/>
          </p:nvSpPr>
          <p:spPr>
            <a:xfrm>
              <a:off x="6768783" y="3853037"/>
              <a:ext cx="4605655" cy="4921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defRPr>
              </a:lvl1pPr>
            </a:lstStyle>
            <a:p>
              <a:r>
                <a:rPr lang="en-US" sz="1600" dirty="0">
                  <a:sym typeface="+mn-ea"/>
                </a:rPr>
                <a:t>NĂM KINH NGHIỆM TRUNG BÌNH CỦA CÁC CÔNG VIỆC LÀ BAO NHIÊU ? </a:t>
              </a:r>
              <a:endParaRPr lang="en-US" sz="1600" dirty="0">
                <a:sym typeface="+mn-ea"/>
              </a:endParaRPr>
            </a:p>
          </p:txBody>
        </p:sp>
        <p:sp>
          <p:nvSpPr>
            <p:cNvPr id="211" name="Oval 210"/>
            <p:cNvSpPr/>
            <p:nvPr/>
          </p:nvSpPr>
          <p:spPr>
            <a:xfrm>
              <a:off x="6053138" y="380223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39" name="Group 638"/>
            <p:cNvGrpSpPr/>
            <p:nvPr/>
          </p:nvGrpSpPr>
          <p:grpSpPr>
            <a:xfrm>
              <a:off x="6240754" y="3967607"/>
              <a:ext cx="157569" cy="202060"/>
              <a:chOff x="9199563" y="1450976"/>
              <a:chExt cx="269875" cy="346076"/>
            </a:xfrm>
          </p:grpSpPr>
          <p:sp>
            <p:nvSpPr>
              <p:cNvPr id="640" name="Freeform 196"/>
              <p:cNvSpPr/>
              <p:nvPr/>
            </p:nvSpPr>
            <p:spPr bwMode="auto">
              <a:xfrm>
                <a:off x="9199563" y="1481139"/>
                <a:ext cx="44450" cy="315913"/>
              </a:xfrm>
              <a:custGeom>
                <a:avLst/>
                <a:gdLst>
                  <a:gd name="T0" fmla="*/ 12 w 12"/>
                  <a:gd name="T1" fmla="*/ 0 h 84"/>
                  <a:gd name="T2" fmla="*/ 4 w 12"/>
                  <a:gd name="T3" fmla="*/ 0 h 84"/>
                  <a:gd name="T4" fmla="*/ 0 w 12"/>
                  <a:gd name="T5" fmla="*/ 4 h 84"/>
                  <a:gd name="T6" fmla="*/ 0 w 12"/>
                  <a:gd name="T7" fmla="*/ 80 h 84"/>
                  <a:gd name="T8" fmla="*/ 4 w 12"/>
                  <a:gd name="T9" fmla="*/ 84 h 84"/>
                  <a:gd name="T10" fmla="*/ 12 w 12"/>
                  <a:gd name="T1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84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2"/>
                      <a:pt x="2" y="84"/>
                      <a:pt x="4" y="84"/>
                    </a:cubicBezTo>
                    <a:cubicBezTo>
                      <a:pt x="12" y="84"/>
                      <a:pt x="12" y="84"/>
                      <a:pt x="12" y="8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  <p:sp>
            <p:nvSpPr>
              <p:cNvPr id="641" name="Freeform 197"/>
              <p:cNvSpPr/>
              <p:nvPr/>
            </p:nvSpPr>
            <p:spPr bwMode="auto">
              <a:xfrm>
                <a:off x="9364663" y="1450976"/>
                <a:ext cx="60325" cy="150813"/>
              </a:xfrm>
              <a:custGeom>
                <a:avLst/>
                <a:gdLst>
                  <a:gd name="T0" fmla="*/ 38 w 38"/>
                  <a:gd name="T1" fmla="*/ 95 h 95"/>
                  <a:gd name="T2" fmla="*/ 19 w 38"/>
                  <a:gd name="T3" fmla="*/ 76 h 95"/>
                  <a:gd name="T4" fmla="*/ 0 w 38"/>
                  <a:gd name="T5" fmla="*/ 95 h 95"/>
                  <a:gd name="T6" fmla="*/ 0 w 38"/>
                  <a:gd name="T7" fmla="*/ 0 h 95"/>
                  <a:gd name="T8" fmla="*/ 38 w 38"/>
                  <a:gd name="T9" fmla="*/ 0 h 95"/>
                  <a:gd name="T10" fmla="*/ 38 w 38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95">
                    <a:moveTo>
                      <a:pt x="38" y="95"/>
                    </a:moveTo>
                    <a:lnTo>
                      <a:pt x="19" y="76"/>
                    </a:lnTo>
                    <a:lnTo>
                      <a:pt x="0" y="95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38" y="9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  <p:sp>
            <p:nvSpPr>
              <p:cNvPr id="642" name="Freeform 198"/>
              <p:cNvSpPr/>
              <p:nvPr/>
            </p:nvSpPr>
            <p:spPr bwMode="auto">
              <a:xfrm>
                <a:off x="9244013" y="1481139"/>
                <a:ext cx="225425" cy="315913"/>
              </a:xfrm>
              <a:custGeom>
                <a:avLst/>
                <a:gdLst>
                  <a:gd name="T0" fmla="*/ 114 w 142"/>
                  <a:gd name="T1" fmla="*/ 0 h 199"/>
                  <a:gd name="T2" fmla="*/ 142 w 142"/>
                  <a:gd name="T3" fmla="*/ 0 h 199"/>
                  <a:gd name="T4" fmla="*/ 142 w 142"/>
                  <a:gd name="T5" fmla="*/ 199 h 199"/>
                  <a:gd name="T6" fmla="*/ 0 w 142"/>
                  <a:gd name="T7" fmla="*/ 199 h 199"/>
                  <a:gd name="T8" fmla="*/ 0 w 142"/>
                  <a:gd name="T9" fmla="*/ 0 h 199"/>
                  <a:gd name="T10" fmla="*/ 76 w 142"/>
                  <a:gd name="T11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2" h="199">
                    <a:moveTo>
                      <a:pt x="114" y="0"/>
                    </a:moveTo>
                    <a:lnTo>
                      <a:pt x="142" y="0"/>
                    </a:lnTo>
                    <a:lnTo>
                      <a:pt x="142" y="199"/>
                    </a:lnTo>
                    <a:lnTo>
                      <a:pt x="0" y="199"/>
                    </a:lnTo>
                    <a:lnTo>
                      <a:pt x="0" y="0"/>
                    </a:lnTo>
                    <a:lnTo>
                      <a:pt x="76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</p:grpSp>
      </p:grpSp>
      <p:sp>
        <p:nvSpPr>
          <p:cNvPr id="336" name="TextBox 335"/>
          <p:cNvSpPr txBox="1"/>
          <p:nvPr/>
        </p:nvSpPr>
        <p:spPr>
          <a:xfrm>
            <a:off x="977265" y="892175"/>
            <a:ext cx="4919980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600" dirty="0"/>
              <a:t>NHỮNG ẢNH HƯỞNG CỦA CHỨNG CHỈ ĐẾN PHÂN BỐ LƯƠNG CỦA GIÁO VIÊN ?</a:t>
            </a:r>
            <a:endParaRPr lang="en-US" sz="1600" dirty="0"/>
          </a:p>
        </p:txBody>
      </p:sp>
      <p:grpSp>
        <p:nvGrpSpPr>
          <p:cNvPr id="14" name="Group 13"/>
          <p:cNvGrpSpPr/>
          <p:nvPr/>
        </p:nvGrpSpPr>
        <p:grpSpPr>
          <a:xfrm>
            <a:off x="261938" y="733247"/>
            <a:ext cx="532800" cy="532800"/>
            <a:chOff x="261938" y="733247"/>
            <a:chExt cx="532800" cy="532800"/>
          </a:xfrm>
        </p:grpSpPr>
        <p:sp>
          <p:nvSpPr>
            <p:cNvPr id="337" name="Oval 336"/>
            <p:cNvSpPr/>
            <p:nvPr/>
          </p:nvSpPr>
          <p:spPr>
            <a:xfrm>
              <a:off x="261938" y="73324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20" name="Group 619"/>
            <p:cNvGrpSpPr/>
            <p:nvPr/>
          </p:nvGrpSpPr>
          <p:grpSpPr>
            <a:xfrm>
              <a:off x="426893" y="845785"/>
              <a:ext cx="202891" cy="277242"/>
              <a:chOff x="5613400" y="2890838"/>
              <a:chExt cx="255588" cy="349250"/>
            </a:xfrm>
          </p:grpSpPr>
          <p:sp>
            <p:nvSpPr>
              <p:cNvPr id="621" name="Freeform 620"/>
              <p:cNvSpPr/>
              <p:nvPr/>
            </p:nvSpPr>
            <p:spPr bwMode="auto">
              <a:xfrm>
                <a:off x="5613400" y="3011488"/>
                <a:ext cx="255588" cy="228600"/>
              </a:xfrm>
              <a:custGeom>
                <a:avLst/>
                <a:gdLst>
                  <a:gd name="T0" fmla="*/ 161 w 161"/>
                  <a:gd name="T1" fmla="*/ 0 h 144"/>
                  <a:gd name="T2" fmla="*/ 0 w 161"/>
                  <a:gd name="T3" fmla="*/ 0 h 144"/>
                  <a:gd name="T4" fmla="*/ 0 w 161"/>
                  <a:gd name="T5" fmla="*/ 144 h 144"/>
                  <a:gd name="T6" fmla="*/ 104 w 161"/>
                  <a:gd name="T7" fmla="*/ 144 h 144"/>
                  <a:gd name="T8" fmla="*/ 161 w 161"/>
                  <a:gd name="T9" fmla="*/ 86 h 144"/>
                  <a:gd name="T10" fmla="*/ 161 w 161"/>
                  <a:gd name="T11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144">
                    <a:moveTo>
                      <a:pt x="161" y="0"/>
                    </a:moveTo>
                    <a:lnTo>
                      <a:pt x="0" y="0"/>
                    </a:lnTo>
                    <a:lnTo>
                      <a:pt x="0" y="144"/>
                    </a:lnTo>
                    <a:lnTo>
                      <a:pt x="104" y="144"/>
                    </a:lnTo>
                    <a:lnTo>
                      <a:pt x="161" y="86"/>
                    </a:lnTo>
                    <a:lnTo>
                      <a:pt x="161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  <p:sp>
            <p:nvSpPr>
              <p:cNvPr id="622" name="Freeform 621"/>
              <p:cNvSpPr/>
              <p:nvPr/>
            </p:nvSpPr>
            <p:spPr bwMode="auto">
              <a:xfrm>
                <a:off x="5778500" y="3148013"/>
                <a:ext cx="90488" cy="92075"/>
              </a:xfrm>
              <a:custGeom>
                <a:avLst/>
                <a:gdLst>
                  <a:gd name="T0" fmla="*/ 0 w 57"/>
                  <a:gd name="T1" fmla="*/ 58 h 58"/>
                  <a:gd name="T2" fmla="*/ 0 w 57"/>
                  <a:gd name="T3" fmla="*/ 0 h 58"/>
                  <a:gd name="T4" fmla="*/ 57 w 57"/>
                  <a:gd name="T5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7" h="58">
                    <a:moveTo>
                      <a:pt x="0" y="58"/>
                    </a:moveTo>
                    <a:lnTo>
                      <a:pt x="0" y="0"/>
                    </a:lnTo>
                    <a:lnTo>
                      <a:pt x="57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  <p:sp>
            <p:nvSpPr>
              <p:cNvPr id="623" name="Oval 622"/>
              <p:cNvSpPr>
                <a:spLocks noChangeArrowheads="1"/>
              </p:cNvSpPr>
              <p:nvPr/>
            </p:nvSpPr>
            <p:spPr bwMode="auto">
              <a:xfrm>
                <a:off x="5688013" y="2890838"/>
                <a:ext cx="90488" cy="9048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  <p:sp>
            <p:nvSpPr>
              <p:cNvPr id="624" name="Line 20"/>
              <p:cNvSpPr>
                <a:spLocks noChangeShapeType="1"/>
              </p:cNvSpPr>
              <p:nvPr/>
            </p:nvSpPr>
            <p:spPr bwMode="auto">
              <a:xfrm>
                <a:off x="5734050" y="2981325"/>
                <a:ext cx="0" cy="46038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  <p:sp>
            <p:nvSpPr>
              <p:cNvPr id="625" name="Freeform 624"/>
              <p:cNvSpPr/>
              <p:nvPr/>
            </p:nvSpPr>
            <p:spPr bwMode="auto">
              <a:xfrm>
                <a:off x="5734050" y="2921000"/>
                <a:ext cx="14288" cy="15875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2" y="0"/>
                      <a:pt x="4" y="2"/>
                      <a:pt x="4" y="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  <p:sp>
            <p:nvSpPr>
              <p:cNvPr id="626" name="Line 22"/>
              <p:cNvSpPr>
                <a:spLocks noChangeShapeType="1"/>
              </p:cNvSpPr>
              <p:nvPr/>
            </p:nvSpPr>
            <p:spPr bwMode="auto">
              <a:xfrm>
                <a:off x="5665788" y="3073400"/>
                <a:ext cx="120650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  <p:sp>
            <p:nvSpPr>
              <p:cNvPr id="627" name="Line 23"/>
              <p:cNvSpPr>
                <a:spLocks noChangeShapeType="1"/>
              </p:cNvSpPr>
              <p:nvPr/>
            </p:nvSpPr>
            <p:spPr bwMode="auto">
              <a:xfrm>
                <a:off x="5665788" y="3117850"/>
                <a:ext cx="120650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  <p:sp>
            <p:nvSpPr>
              <p:cNvPr id="628" name="Line 24"/>
              <p:cNvSpPr>
                <a:spLocks noChangeShapeType="1"/>
              </p:cNvSpPr>
              <p:nvPr/>
            </p:nvSpPr>
            <p:spPr bwMode="auto">
              <a:xfrm>
                <a:off x="5665788" y="3163888"/>
                <a:ext cx="74613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/>
              </a:p>
            </p:txBody>
          </p:sp>
        </p:grpSp>
      </p:grpSp>
      <p:pic>
        <p:nvPicPr>
          <p:cNvPr id="2" name="Content Placeholder 1"/>
          <p:cNvPicPr>
            <a:picLocks noChangeAspect="1"/>
          </p:cNvPicPr>
          <p:nvPr>
            <p:ph sz="half" idx="1"/>
          </p:nvPr>
        </p:nvPicPr>
        <p:blipFill>
          <a:blip r:embed="rId4"/>
          <a:stretch>
            <a:fillRect/>
          </a:stretch>
        </p:blipFill>
        <p:spPr>
          <a:xfrm>
            <a:off x="609600" y="2383790"/>
            <a:ext cx="5383530" cy="2958465"/>
          </a:xfrm>
          <a:prstGeom prst="rect">
            <a:avLst/>
          </a:prstGeom>
        </p:spPr>
      </p:pic>
      <p:sp>
        <p:nvSpPr>
          <p:cNvPr id="18" name="Text Box 17"/>
          <p:cNvSpPr txBox="1"/>
          <p:nvPr/>
        </p:nvSpPr>
        <p:spPr>
          <a:xfrm rot="16200000">
            <a:off x="-130810" y="3101340"/>
            <a:ext cx="95694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lary</a:t>
            </a:r>
            <a:endParaRPr lang="en-US" b="1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 Box 5"/>
          <p:cNvSpPr txBox="1"/>
          <p:nvPr/>
        </p:nvSpPr>
        <p:spPr>
          <a:xfrm>
            <a:off x="2710180" y="5157470"/>
            <a:ext cx="182372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en-US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rtificate</a:t>
            </a:r>
            <a:endParaRPr lang="en-US" b="1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ext Box 6"/>
          <p:cNvSpPr txBox="1"/>
          <p:nvPr/>
        </p:nvSpPr>
        <p:spPr>
          <a:xfrm>
            <a:off x="795020" y="2046605"/>
            <a:ext cx="5090795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sz="1600"/>
              <a:t>BIỂU ĐỒ PHÂN BỐ LƯƠNG TRUNG BÌNH Ở MỖI CHỨNG CHỈ</a:t>
            </a:r>
            <a:endParaRPr lang="en-US" sz="1600"/>
          </a:p>
        </p:txBody>
      </p:sp>
      <p:pic>
        <p:nvPicPr>
          <p:cNvPr id="10" name="Content Placeholder 9"/>
          <p:cNvPicPr>
            <a:picLocks noChangeAspect="1"/>
          </p:cNvPicPr>
          <p:nvPr>
            <p:ph sz="half" idx="2"/>
          </p:nvPr>
        </p:nvPicPr>
        <p:blipFill>
          <a:blip r:embed="rId5"/>
          <a:stretch>
            <a:fillRect/>
          </a:stretch>
        </p:blipFill>
        <p:spPr>
          <a:xfrm>
            <a:off x="6629400" y="2315210"/>
            <a:ext cx="4514850" cy="3095625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1046798" y="5598252"/>
            <a:ext cx="531730" cy="531730"/>
            <a:chOff x="1060566" y="1943691"/>
            <a:chExt cx="531730" cy="531730"/>
          </a:xfrm>
        </p:grpSpPr>
        <p:sp>
          <p:nvSpPr>
            <p:cNvPr id="194" name="Oval 193"/>
            <p:cNvSpPr/>
            <p:nvPr/>
          </p:nvSpPr>
          <p:spPr>
            <a:xfrm>
              <a:off x="1060566" y="1943691"/>
              <a:ext cx="531730" cy="5317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en-IN"/>
            </a:p>
          </p:txBody>
        </p:sp>
        <p:grpSp>
          <p:nvGrpSpPr>
            <p:cNvPr id="195" name="Group 194"/>
            <p:cNvGrpSpPr/>
            <p:nvPr/>
          </p:nvGrpSpPr>
          <p:grpSpPr>
            <a:xfrm>
              <a:off x="1211844" y="2078944"/>
              <a:ext cx="279100" cy="261224"/>
              <a:chOff x="765175" y="1228726"/>
              <a:chExt cx="5205413" cy="4872038"/>
            </a:xfrm>
            <a:solidFill>
              <a:schemeClr val="bg1"/>
            </a:solidFill>
          </p:grpSpPr>
          <p:sp>
            <p:nvSpPr>
              <p:cNvPr id="196" name="Freeform 6"/>
              <p:cNvSpPr/>
              <p:nvPr/>
            </p:nvSpPr>
            <p:spPr bwMode="auto">
              <a:xfrm>
                <a:off x="1477963" y="23304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2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7 h 383"/>
                  <a:gd name="T16" fmla="*/ 3049 w 3049"/>
                  <a:gd name="T17" fmla="*/ 191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0 h 383"/>
                  <a:gd name="T26" fmla="*/ 2941 w 3049"/>
                  <a:gd name="T27" fmla="*/ 364 h 383"/>
                  <a:gd name="T28" fmla="*/ 2901 w 3049"/>
                  <a:gd name="T29" fmla="*/ 378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8 h 383"/>
                  <a:gd name="T36" fmla="*/ 106 w 3049"/>
                  <a:gd name="T37" fmla="*/ 364 h 383"/>
                  <a:gd name="T38" fmla="*/ 70 w 3049"/>
                  <a:gd name="T39" fmla="*/ 340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1 h 383"/>
                  <a:gd name="T48" fmla="*/ 4 w 3049"/>
                  <a:gd name="T49" fmla="*/ 147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2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2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7"/>
                    </a:lnTo>
                    <a:lnTo>
                      <a:pt x="3049" y="191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0"/>
                    </a:lnTo>
                    <a:lnTo>
                      <a:pt x="2941" y="364"/>
                    </a:lnTo>
                    <a:lnTo>
                      <a:pt x="2901" y="378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8"/>
                    </a:lnTo>
                    <a:lnTo>
                      <a:pt x="106" y="364"/>
                    </a:lnTo>
                    <a:lnTo>
                      <a:pt x="70" y="340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1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197" name="Freeform 7"/>
              <p:cNvSpPr/>
              <p:nvPr/>
            </p:nvSpPr>
            <p:spPr bwMode="auto">
              <a:xfrm>
                <a:off x="1477963" y="28511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3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9 h 383"/>
                  <a:gd name="T16" fmla="*/ 3049 w 3049"/>
                  <a:gd name="T17" fmla="*/ 192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1 h 383"/>
                  <a:gd name="T26" fmla="*/ 2941 w 3049"/>
                  <a:gd name="T27" fmla="*/ 363 h 383"/>
                  <a:gd name="T28" fmla="*/ 2901 w 3049"/>
                  <a:gd name="T29" fmla="*/ 377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7 h 383"/>
                  <a:gd name="T36" fmla="*/ 106 w 3049"/>
                  <a:gd name="T37" fmla="*/ 363 h 383"/>
                  <a:gd name="T38" fmla="*/ 70 w 3049"/>
                  <a:gd name="T39" fmla="*/ 341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2 h 383"/>
                  <a:gd name="T48" fmla="*/ 4 w 3049"/>
                  <a:gd name="T49" fmla="*/ 149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3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3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9"/>
                    </a:lnTo>
                    <a:lnTo>
                      <a:pt x="3049" y="192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1"/>
                    </a:lnTo>
                    <a:lnTo>
                      <a:pt x="2941" y="363"/>
                    </a:lnTo>
                    <a:lnTo>
                      <a:pt x="2901" y="377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7"/>
                    </a:lnTo>
                    <a:lnTo>
                      <a:pt x="106" y="363"/>
                    </a:lnTo>
                    <a:lnTo>
                      <a:pt x="70" y="341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2"/>
                    </a:lnTo>
                    <a:lnTo>
                      <a:pt x="4" y="149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3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198" name="Freeform 8"/>
              <p:cNvSpPr/>
              <p:nvPr/>
            </p:nvSpPr>
            <p:spPr bwMode="auto">
              <a:xfrm>
                <a:off x="1477963" y="4935538"/>
                <a:ext cx="1422400" cy="303213"/>
              </a:xfrm>
              <a:custGeom>
                <a:avLst/>
                <a:gdLst>
                  <a:gd name="T0" fmla="*/ 191 w 1793"/>
                  <a:gd name="T1" fmla="*/ 0 h 381"/>
                  <a:gd name="T2" fmla="*/ 1602 w 1793"/>
                  <a:gd name="T3" fmla="*/ 0 h 381"/>
                  <a:gd name="T4" fmla="*/ 1646 w 1793"/>
                  <a:gd name="T5" fmla="*/ 6 h 381"/>
                  <a:gd name="T6" fmla="*/ 1686 w 1793"/>
                  <a:gd name="T7" fmla="*/ 20 h 381"/>
                  <a:gd name="T8" fmla="*/ 1721 w 1793"/>
                  <a:gd name="T9" fmla="*/ 41 h 381"/>
                  <a:gd name="T10" fmla="*/ 1751 w 1793"/>
                  <a:gd name="T11" fmla="*/ 71 h 381"/>
                  <a:gd name="T12" fmla="*/ 1773 w 1793"/>
                  <a:gd name="T13" fmla="*/ 107 h 381"/>
                  <a:gd name="T14" fmla="*/ 1787 w 1793"/>
                  <a:gd name="T15" fmla="*/ 147 h 381"/>
                  <a:gd name="T16" fmla="*/ 1793 w 1793"/>
                  <a:gd name="T17" fmla="*/ 190 h 381"/>
                  <a:gd name="T18" fmla="*/ 1787 w 1793"/>
                  <a:gd name="T19" fmla="*/ 234 h 381"/>
                  <a:gd name="T20" fmla="*/ 1773 w 1793"/>
                  <a:gd name="T21" fmla="*/ 274 h 381"/>
                  <a:gd name="T22" fmla="*/ 1751 w 1793"/>
                  <a:gd name="T23" fmla="*/ 310 h 381"/>
                  <a:gd name="T24" fmla="*/ 1721 w 1793"/>
                  <a:gd name="T25" fmla="*/ 339 h 381"/>
                  <a:gd name="T26" fmla="*/ 1686 w 1793"/>
                  <a:gd name="T27" fmla="*/ 361 h 381"/>
                  <a:gd name="T28" fmla="*/ 1646 w 1793"/>
                  <a:gd name="T29" fmla="*/ 377 h 381"/>
                  <a:gd name="T30" fmla="*/ 1602 w 1793"/>
                  <a:gd name="T31" fmla="*/ 381 h 381"/>
                  <a:gd name="T32" fmla="*/ 191 w 1793"/>
                  <a:gd name="T33" fmla="*/ 381 h 381"/>
                  <a:gd name="T34" fmla="*/ 148 w 1793"/>
                  <a:gd name="T35" fmla="*/ 377 h 381"/>
                  <a:gd name="T36" fmla="*/ 106 w 1793"/>
                  <a:gd name="T37" fmla="*/ 361 h 381"/>
                  <a:gd name="T38" fmla="*/ 70 w 1793"/>
                  <a:gd name="T39" fmla="*/ 339 h 381"/>
                  <a:gd name="T40" fmla="*/ 42 w 1793"/>
                  <a:gd name="T41" fmla="*/ 310 h 381"/>
                  <a:gd name="T42" fmla="*/ 18 w 1793"/>
                  <a:gd name="T43" fmla="*/ 274 h 381"/>
                  <a:gd name="T44" fmla="*/ 4 w 1793"/>
                  <a:gd name="T45" fmla="*/ 234 h 381"/>
                  <a:gd name="T46" fmla="*/ 0 w 1793"/>
                  <a:gd name="T47" fmla="*/ 190 h 381"/>
                  <a:gd name="T48" fmla="*/ 4 w 1793"/>
                  <a:gd name="T49" fmla="*/ 147 h 381"/>
                  <a:gd name="T50" fmla="*/ 18 w 1793"/>
                  <a:gd name="T51" fmla="*/ 107 h 381"/>
                  <a:gd name="T52" fmla="*/ 42 w 1793"/>
                  <a:gd name="T53" fmla="*/ 71 h 381"/>
                  <a:gd name="T54" fmla="*/ 70 w 1793"/>
                  <a:gd name="T55" fmla="*/ 41 h 381"/>
                  <a:gd name="T56" fmla="*/ 106 w 1793"/>
                  <a:gd name="T57" fmla="*/ 20 h 381"/>
                  <a:gd name="T58" fmla="*/ 148 w 1793"/>
                  <a:gd name="T59" fmla="*/ 6 h 381"/>
                  <a:gd name="T60" fmla="*/ 191 w 1793"/>
                  <a:gd name="T61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93" h="381">
                    <a:moveTo>
                      <a:pt x="191" y="0"/>
                    </a:moveTo>
                    <a:lnTo>
                      <a:pt x="1602" y="0"/>
                    </a:lnTo>
                    <a:lnTo>
                      <a:pt x="1646" y="6"/>
                    </a:lnTo>
                    <a:lnTo>
                      <a:pt x="1686" y="20"/>
                    </a:lnTo>
                    <a:lnTo>
                      <a:pt x="1721" y="41"/>
                    </a:lnTo>
                    <a:lnTo>
                      <a:pt x="1751" y="71"/>
                    </a:lnTo>
                    <a:lnTo>
                      <a:pt x="1773" y="107"/>
                    </a:lnTo>
                    <a:lnTo>
                      <a:pt x="1787" y="147"/>
                    </a:lnTo>
                    <a:lnTo>
                      <a:pt x="1793" y="190"/>
                    </a:lnTo>
                    <a:lnTo>
                      <a:pt x="1787" y="234"/>
                    </a:lnTo>
                    <a:lnTo>
                      <a:pt x="1773" y="274"/>
                    </a:lnTo>
                    <a:lnTo>
                      <a:pt x="1751" y="310"/>
                    </a:lnTo>
                    <a:lnTo>
                      <a:pt x="1721" y="339"/>
                    </a:lnTo>
                    <a:lnTo>
                      <a:pt x="1686" y="361"/>
                    </a:lnTo>
                    <a:lnTo>
                      <a:pt x="1646" y="377"/>
                    </a:lnTo>
                    <a:lnTo>
                      <a:pt x="1602" y="381"/>
                    </a:lnTo>
                    <a:lnTo>
                      <a:pt x="191" y="381"/>
                    </a:lnTo>
                    <a:lnTo>
                      <a:pt x="148" y="377"/>
                    </a:lnTo>
                    <a:lnTo>
                      <a:pt x="106" y="361"/>
                    </a:lnTo>
                    <a:lnTo>
                      <a:pt x="70" y="339"/>
                    </a:lnTo>
                    <a:lnTo>
                      <a:pt x="42" y="310"/>
                    </a:lnTo>
                    <a:lnTo>
                      <a:pt x="18" y="274"/>
                    </a:lnTo>
                    <a:lnTo>
                      <a:pt x="4" y="234"/>
                    </a:lnTo>
                    <a:lnTo>
                      <a:pt x="0" y="190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1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13" name="Freeform 9"/>
              <p:cNvSpPr>
                <a:spLocks noEditPoints="1"/>
              </p:cNvSpPr>
              <p:nvPr/>
            </p:nvSpPr>
            <p:spPr bwMode="auto">
              <a:xfrm>
                <a:off x="765175" y="1228726"/>
                <a:ext cx="5205413" cy="4872038"/>
              </a:xfrm>
              <a:custGeom>
                <a:avLst/>
                <a:gdLst>
                  <a:gd name="T0" fmla="*/ 3681 w 6558"/>
                  <a:gd name="T1" fmla="*/ 4366 h 6138"/>
                  <a:gd name="T2" fmla="*/ 5597 w 6558"/>
                  <a:gd name="T3" fmla="*/ 910 h 6138"/>
                  <a:gd name="T4" fmla="*/ 4282 w 6558"/>
                  <a:gd name="T5" fmla="*/ 5757 h 6138"/>
                  <a:gd name="T6" fmla="*/ 4268 w 6558"/>
                  <a:gd name="T7" fmla="*/ 4376 h 6138"/>
                  <a:gd name="T8" fmla="*/ 3426 w 6558"/>
                  <a:gd name="T9" fmla="*/ 5047 h 6138"/>
                  <a:gd name="T10" fmla="*/ 3317 w 6558"/>
                  <a:gd name="T11" fmla="*/ 5039 h 6138"/>
                  <a:gd name="T12" fmla="*/ 3227 w 6558"/>
                  <a:gd name="T13" fmla="*/ 4972 h 6138"/>
                  <a:gd name="T14" fmla="*/ 3191 w 6558"/>
                  <a:gd name="T15" fmla="*/ 4862 h 6138"/>
                  <a:gd name="T16" fmla="*/ 1088 w 6558"/>
                  <a:gd name="T17" fmla="*/ 4395 h 6138"/>
                  <a:gd name="T18" fmla="*/ 967 w 6558"/>
                  <a:gd name="T19" fmla="*/ 4354 h 6138"/>
                  <a:gd name="T20" fmla="*/ 901 w 6558"/>
                  <a:gd name="T21" fmla="*/ 4248 h 6138"/>
                  <a:gd name="T22" fmla="*/ 915 w 6558"/>
                  <a:gd name="T23" fmla="*/ 4121 h 6138"/>
                  <a:gd name="T24" fmla="*/ 1003 w 6558"/>
                  <a:gd name="T25" fmla="*/ 4034 h 6138"/>
                  <a:gd name="T26" fmla="*/ 3363 w 6558"/>
                  <a:gd name="T27" fmla="*/ 4014 h 6138"/>
                  <a:gd name="T28" fmla="*/ 3418 w 6558"/>
                  <a:gd name="T29" fmla="*/ 3793 h 6138"/>
                  <a:gd name="T30" fmla="*/ 1045 w 6558"/>
                  <a:gd name="T31" fmla="*/ 3734 h 6138"/>
                  <a:gd name="T32" fmla="*/ 939 w 6558"/>
                  <a:gd name="T33" fmla="*/ 3668 h 6138"/>
                  <a:gd name="T34" fmla="*/ 897 w 6558"/>
                  <a:gd name="T35" fmla="*/ 3549 h 6138"/>
                  <a:gd name="T36" fmla="*/ 939 w 6558"/>
                  <a:gd name="T37" fmla="*/ 3430 h 6138"/>
                  <a:gd name="T38" fmla="*/ 1045 w 6558"/>
                  <a:gd name="T39" fmla="*/ 3362 h 6138"/>
                  <a:gd name="T40" fmla="*/ 3868 w 6558"/>
                  <a:gd name="T41" fmla="*/ 3046 h 6138"/>
                  <a:gd name="T42" fmla="*/ 3755 w 6558"/>
                  <a:gd name="T43" fmla="*/ 3084 h 6138"/>
                  <a:gd name="T44" fmla="*/ 1003 w 6558"/>
                  <a:gd name="T45" fmla="*/ 3064 h 6138"/>
                  <a:gd name="T46" fmla="*/ 915 w 6558"/>
                  <a:gd name="T47" fmla="*/ 2977 h 6138"/>
                  <a:gd name="T48" fmla="*/ 901 w 6558"/>
                  <a:gd name="T49" fmla="*/ 2849 h 6138"/>
                  <a:gd name="T50" fmla="*/ 967 w 6558"/>
                  <a:gd name="T51" fmla="*/ 2744 h 6138"/>
                  <a:gd name="T52" fmla="*/ 1088 w 6558"/>
                  <a:gd name="T53" fmla="*/ 2702 h 6138"/>
                  <a:gd name="T54" fmla="*/ 3838 w 6558"/>
                  <a:gd name="T55" fmla="*/ 2720 h 6138"/>
                  <a:gd name="T56" fmla="*/ 3926 w 6558"/>
                  <a:gd name="T57" fmla="*/ 2808 h 6138"/>
                  <a:gd name="T58" fmla="*/ 3946 w 6558"/>
                  <a:gd name="T59" fmla="*/ 2907 h 6138"/>
                  <a:gd name="T60" fmla="*/ 4282 w 6558"/>
                  <a:gd name="T61" fmla="*/ 759 h 6138"/>
                  <a:gd name="T62" fmla="*/ 5794 w 6558"/>
                  <a:gd name="T63" fmla="*/ 582 h 6138"/>
                  <a:gd name="T64" fmla="*/ 5872 w 6558"/>
                  <a:gd name="T65" fmla="*/ 453 h 6138"/>
                  <a:gd name="T66" fmla="*/ 5872 w 6558"/>
                  <a:gd name="T67" fmla="*/ 12 h 6138"/>
                  <a:gd name="T68" fmla="*/ 6502 w 6558"/>
                  <a:gd name="T69" fmla="*/ 391 h 6138"/>
                  <a:gd name="T70" fmla="*/ 6558 w 6558"/>
                  <a:gd name="T71" fmla="*/ 503 h 6138"/>
                  <a:gd name="T72" fmla="*/ 6532 w 6558"/>
                  <a:gd name="T73" fmla="*/ 626 h 6138"/>
                  <a:gd name="T74" fmla="*/ 4658 w 6558"/>
                  <a:gd name="T75" fmla="*/ 5991 h 6138"/>
                  <a:gd name="T76" fmla="*/ 4592 w 6558"/>
                  <a:gd name="T77" fmla="*/ 6096 h 6138"/>
                  <a:gd name="T78" fmla="*/ 4473 w 6558"/>
                  <a:gd name="T79" fmla="*/ 6138 h 6138"/>
                  <a:gd name="T80" fmla="*/ 107 w 6558"/>
                  <a:gd name="T81" fmla="*/ 6120 h 6138"/>
                  <a:gd name="T82" fmla="*/ 20 w 6558"/>
                  <a:gd name="T83" fmla="*/ 6031 h 6138"/>
                  <a:gd name="T84" fmla="*/ 0 w 6558"/>
                  <a:gd name="T85" fmla="*/ 568 h 6138"/>
                  <a:gd name="T86" fmla="*/ 42 w 6558"/>
                  <a:gd name="T87" fmla="*/ 449 h 6138"/>
                  <a:gd name="T88" fmla="*/ 147 w 6558"/>
                  <a:gd name="T89" fmla="*/ 382 h 6138"/>
                  <a:gd name="T90" fmla="*/ 4517 w 6558"/>
                  <a:gd name="T91" fmla="*/ 382 h 6138"/>
                  <a:gd name="T92" fmla="*/ 4622 w 6558"/>
                  <a:gd name="T93" fmla="*/ 449 h 6138"/>
                  <a:gd name="T94" fmla="*/ 4664 w 6558"/>
                  <a:gd name="T95" fmla="*/ 568 h 6138"/>
                  <a:gd name="T96" fmla="*/ 5665 w 6558"/>
                  <a:gd name="T97" fmla="*/ 64 h 6138"/>
                  <a:gd name="T98" fmla="*/ 5760 w 6558"/>
                  <a:gd name="T99" fmla="*/ 6 h 6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58" h="6138">
                    <a:moveTo>
                      <a:pt x="5597" y="910"/>
                    </a:moveTo>
                    <a:lnTo>
                      <a:pt x="3763" y="3962"/>
                    </a:lnTo>
                    <a:lnTo>
                      <a:pt x="3681" y="4366"/>
                    </a:lnTo>
                    <a:lnTo>
                      <a:pt x="3997" y="4103"/>
                    </a:lnTo>
                    <a:lnTo>
                      <a:pt x="5832" y="1051"/>
                    </a:lnTo>
                    <a:lnTo>
                      <a:pt x="5597" y="910"/>
                    </a:lnTo>
                    <a:close/>
                    <a:moveTo>
                      <a:pt x="382" y="759"/>
                    </a:moveTo>
                    <a:lnTo>
                      <a:pt x="382" y="5757"/>
                    </a:lnTo>
                    <a:lnTo>
                      <a:pt x="4282" y="5757"/>
                    </a:lnTo>
                    <a:lnTo>
                      <a:pt x="4282" y="4362"/>
                    </a:lnTo>
                    <a:lnTo>
                      <a:pt x="4274" y="4370"/>
                    </a:lnTo>
                    <a:lnTo>
                      <a:pt x="4268" y="4376"/>
                    </a:lnTo>
                    <a:lnTo>
                      <a:pt x="3506" y="5007"/>
                    </a:lnTo>
                    <a:lnTo>
                      <a:pt x="3468" y="5031"/>
                    </a:lnTo>
                    <a:lnTo>
                      <a:pt x="3426" y="5047"/>
                    </a:lnTo>
                    <a:lnTo>
                      <a:pt x="3382" y="5051"/>
                    </a:lnTo>
                    <a:lnTo>
                      <a:pt x="3349" y="5049"/>
                    </a:lnTo>
                    <a:lnTo>
                      <a:pt x="3317" y="5039"/>
                    </a:lnTo>
                    <a:lnTo>
                      <a:pt x="3285" y="5025"/>
                    </a:lnTo>
                    <a:lnTo>
                      <a:pt x="3253" y="5000"/>
                    </a:lnTo>
                    <a:lnTo>
                      <a:pt x="3227" y="4972"/>
                    </a:lnTo>
                    <a:lnTo>
                      <a:pt x="3207" y="4938"/>
                    </a:lnTo>
                    <a:lnTo>
                      <a:pt x="3195" y="4900"/>
                    </a:lnTo>
                    <a:lnTo>
                      <a:pt x="3191" y="4862"/>
                    </a:lnTo>
                    <a:lnTo>
                      <a:pt x="3195" y="4823"/>
                    </a:lnTo>
                    <a:lnTo>
                      <a:pt x="3283" y="4395"/>
                    </a:lnTo>
                    <a:lnTo>
                      <a:pt x="1088" y="4395"/>
                    </a:lnTo>
                    <a:lnTo>
                      <a:pt x="1045" y="4391"/>
                    </a:lnTo>
                    <a:lnTo>
                      <a:pt x="1003" y="4376"/>
                    </a:lnTo>
                    <a:lnTo>
                      <a:pt x="967" y="4354"/>
                    </a:lnTo>
                    <a:lnTo>
                      <a:pt x="939" y="4324"/>
                    </a:lnTo>
                    <a:lnTo>
                      <a:pt x="915" y="4288"/>
                    </a:lnTo>
                    <a:lnTo>
                      <a:pt x="901" y="4248"/>
                    </a:lnTo>
                    <a:lnTo>
                      <a:pt x="897" y="4205"/>
                    </a:lnTo>
                    <a:lnTo>
                      <a:pt x="901" y="4161"/>
                    </a:lnTo>
                    <a:lnTo>
                      <a:pt x="915" y="4121"/>
                    </a:lnTo>
                    <a:lnTo>
                      <a:pt x="939" y="4085"/>
                    </a:lnTo>
                    <a:lnTo>
                      <a:pt x="967" y="4056"/>
                    </a:lnTo>
                    <a:lnTo>
                      <a:pt x="1003" y="4034"/>
                    </a:lnTo>
                    <a:lnTo>
                      <a:pt x="1045" y="4018"/>
                    </a:lnTo>
                    <a:lnTo>
                      <a:pt x="1088" y="4014"/>
                    </a:lnTo>
                    <a:lnTo>
                      <a:pt x="3363" y="4014"/>
                    </a:lnTo>
                    <a:lnTo>
                      <a:pt x="3394" y="3855"/>
                    </a:lnTo>
                    <a:lnTo>
                      <a:pt x="3404" y="3823"/>
                    </a:lnTo>
                    <a:lnTo>
                      <a:pt x="3418" y="3793"/>
                    </a:lnTo>
                    <a:lnTo>
                      <a:pt x="3452" y="3740"/>
                    </a:lnTo>
                    <a:lnTo>
                      <a:pt x="1088" y="3740"/>
                    </a:lnTo>
                    <a:lnTo>
                      <a:pt x="1045" y="3734"/>
                    </a:lnTo>
                    <a:lnTo>
                      <a:pt x="1003" y="3720"/>
                    </a:lnTo>
                    <a:lnTo>
                      <a:pt x="967" y="3698"/>
                    </a:lnTo>
                    <a:lnTo>
                      <a:pt x="939" y="3668"/>
                    </a:lnTo>
                    <a:lnTo>
                      <a:pt x="915" y="3632"/>
                    </a:lnTo>
                    <a:lnTo>
                      <a:pt x="901" y="3593"/>
                    </a:lnTo>
                    <a:lnTo>
                      <a:pt x="897" y="3549"/>
                    </a:lnTo>
                    <a:lnTo>
                      <a:pt x="901" y="3505"/>
                    </a:lnTo>
                    <a:lnTo>
                      <a:pt x="915" y="3465"/>
                    </a:lnTo>
                    <a:lnTo>
                      <a:pt x="939" y="3430"/>
                    </a:lnTo>
                    <a:lnTo>
                      <a:pt x="967" y="3400"/>
                    </a:lnTo>
                    <a:lnTo>
                      <a:pt x="1003" y="3378"/>
                    </a:lnTo>
                    <a:lnTo>
                      <a:pt x="1045" y="3362"/>
                    </a:lnTo>
                    <a:lnTo>
                      <a:pt x="1088" y="3358"/>
                    </a:lnTo>
                    <a:lnTo>
                      <a:pt x="3681" y="3358"/>
                    </a:lnTo>
                    <a:lnTo>
                      <a:pt x="3868" y="3046"/>
                    </a:lnTo>
                    <a:lnTo>
                      <a:pt x="3834" y="3066"/>
                    </a:lnTo>
                    <a:lnTo>
                      <a:pt x="3796" y="3080"/>
                    </a:lnTo>
                    <a:lnTo>
                      <a:pt x="3755" y="3084"/>
                    </a:lnTo>
                    <a:lnTo>
                      <a:pt x="1088" y="3084"/>
                    </a:lnTo>
                    <a:lnTo>
                      <a:pt x="1045" y="3078"/>
                    </a:lnTo>
                    <a:lnTo>
                      <a:pt x="1003" y="3064"/>
                    </a:lnTo>
                    <a:lnTo>
                      <a:pt x="967" y="3042"/>
                    </a:lnTo>
                    <a:lnTo>
                      <a:pt x="939" y="3012"/>
                    </a:lnTo>
                    <a:lnTo>
                      <a:pt x="915" y="2977"/>
                    </a:lnTo>
                    <a:lnTo>
                      <a:pt x="901" y="2937"/>
                    </a:lnTo>
                    <a:lnTo>
                      <a:pt x="897" y="2893"/>
                    </a:lnTo>
                    <a:lnTo>
                      <a:pt x="901" y="2849"/>
                    </a:lnTo>
                    <a:lnTo>
                      <a:pt x="915" y="2808"/>
                    </a:lnTo>
                    <a:lnTo>
                      <a:pt x="939" y="2774"/>
                    </a:lnTo>
                    <a:lnTo>
                      <a:pt x="967" y="2744"/>
                    </a:lnTo>
                    <a:lnTo>
                      <a:pt x="1003" y="2720"/>
                    </a:lnTo>
                    <a:lnTo>
                      <a:pt x="1045" y="2706"/>
                    </a:lnTo>
                    <a:lnTo>
                      <a:pt x="1088" y="2702"/>
                    </a:lnTo>
                    <a:lnTo>
                      <a:pt x="3755" y="2702"/>
                    </a:lnTo>
                    <a:lnTo>
                      <a:pt x="3798" y="2706"/>
                    </a:lnTo>
                    <a:lnTo>
                      <a:pt x="3838" y="2720"/>
                    </a:lnTo>
                    <a:lnTo>
                      <a:pt x="3874" y="2744"/>
                    </a:lnTo>
                    <a:lnTo>
                      <a:pt x="3904" y="2774"/>
                    </a:lnTo>
                    <a:lnTo>
                      <a:pt x="3926" y="2808"/>
                    </a:lnTo>
                    <a:lnTo>
                      <a:pt x="3942" y="2849"/>
                    </a:lnTo>
                    <a:lnTo>
                      <a:pt x="3946" y="2893"/>
                    </a:lnTo>
                    <a:lnTo>
                      <a:pt x="3946" y="2907"/>
                    </a:lnTo>
                    <a:lnTo>
                      <a:pt x="3944" y="2921"/>
                    </a:lnTo>
                    <a:lnTo>
                      <a:pt x="4282" y="2359"/>
                    </a:lnTo>
                    <a:lnTo>
                      <a:pt x="4282" y="759"/>
                    </a:lnTo>
                    <a:lnTo>
                      <a:pt x="382" y="759"/>
                    </a:lnTo>
                    <a:close/>
                    <a:moveTo>
                      <a:pt x="5872" y="453"/>
                    </a:moveTo>
                    <a:lnTo>
                      <a:pt x="5794" y="582"/>
                    </a:lnTo>
                    <a:lnTo>
                      <a:pt x="6029" y="723"/>
                    </a:lnTo>
                    <a:lnTo>
                      <a:pt x="6106" y="594"/>
                    </a:lnTo>
                    <a:lnTo>
                      <a:pt x="5872" y="453"/>
                    </a:lnTo>
                    <a:close/>
                    <a:moveTo>
                      <a:pt x="5798" y="0"/>
                    </a:moveTo>
                    <a:lnTo>
                      <a:pt x="5834" y="2"/>
                    </a:lnTo>
                    <a:lnTo>
                      <a:pt x="5872" y="12"/>
                    </a:lnTo>
                    <a:lnTo>
                      <a:pt x="5905" y="28"/>
                    </a:lnTo>
                    <a:lnTo>
                      <a:pt x="6467" y="364"/>
                    </a:lnTo>
                    <a:lnTo>
                      <a:pt x="6502" y="391"/>
                    </a:lnTo>
                    <a:lnTo>
                      <a:pt x="6528" y="425"/>
                    </a:lnTo>
                    <a:lnTo>
                      <a:pt x="6548" y="461"/>
                    </a:lnTo>
                    <a:lnTo>
                      <a:pt x="6558" y="503"/>
                    </a:lnTo>
                    <a:lnTo>
                      <a:pt x="6558" y="544"/>
                    </a:lnTo>
                    <a:lnTo>
                      <a:pt x="6550" y="586"/>
                    </a:lnTo>
                    <a:lnTo>
                      <a:pt x="6532" y="626"/>
                    </a:lnTo>
                    <a:lnTo>
                      <a:pt x="4664" y="3736"/>
                    </a:lnTo>
                    <a:lnTo>
                      <a:pt x="4664" y="5947"/>
                    </a:lnTo>
                    <a:lnTo>
                      <a:pt x="4658" y="5991"/>
                    </a:lnTo>
                    <a:lnTo>
                      <a:pt x="4644" y="6031"/>
                    </a:lnTo>
                    <a:lnTo>
                      <a:pt x="4622" y="6067"/>
                    </a:lnTo>
                    <a:lnTo>
                      <a:pt x="4592" y="6096"/>
                    </a:lnTo>
                    <a:lnTo>
                      <a:pt x="4556" y="6120"/>
                    </a:lnTo>
                    <a:lnTo>
                      <a:pt x="4517" y="6134"/>
                    </a:lnTo>
                    <a:lnTo>
                      <a:pt x="4473" y="6138"/>
                    </a:lnTo>
                    <a:lnTo>
                      <a:pt x="191" y="6138"/>
                    </a:lnTo>
                    <a:lnTo>
                      <a:pt x="147" y="6134"/>
                    </a:lnTo>
                    <a:lnTo>
                      <a:pt x="107" y="6120"/>
                    </a:lnTo>
                    <a:lnTo>
                      <a:pt x="72" y="6096"/>
                    </a:lnTo>
                    <a:lnTo>
                      <a:pt x="42" y="6067"/>
                    </a:lnTo>
                    <a:lnTo>
                      <a:pt x="20" y="6031"/>
                    </a:lnTo>
                    <a:lnTo>
                      <a:pt x="6" y="5991"/>
                    </a:lnTo>
                    <a:lnTo>
                      <a:pt x="0" y="5947"/>
                    </a:lnTo>
                    <a:lnTo>
                      <a:pt x="0" y="568"/>
                    </a:lnTo>
                    <a:lnTo>
                      <a:pt x="6" y="525"/>
                    </a:lnTo>
                    <a:lnTo>
                      <a:pt x="20" y="483"/>
                    </a:lnTo>
                    <a:lnTo>
                      <a:pt x="42" y="449"/>
                    </a:lnTo>
                    <a:lnTo>
                      <a:pt x="72" y="419"/>
                    </a:lnTo>
                    <a:lnTo>
                      <a:pt x="107" y="395"/>
                    </a:lnTo>
                    <a:lnTo>
                      <a:pt x="147" y="382"/>
                    </a:lnTo>
                    <a:lnTo>
                      <a:pt x="191" y="378"/>
                    </a:lnTo>
                    <a:lnTo>
                      <a:pt x="4473" y="378"/>
                    </a:lnTo>
                    <a:lnTo>
                      <a:pt x="4517" y="382"/>
                    </a:lnTo>
                    <a:lnTo>
                      <a:pt x="4556" y="395"/>
                    </a:lnTo>
                    <a:lnTo>
                      <a:pt x="4592" y="419"/>
                    </a:lnTo>
                    <a:lnTo>
                      <a:pt x="4622" y="449"/>
                    </a:lnTo>
                    <a:lnTo>
                      <a:pt x="4644" y="483"/>
                    </a:lnTo>
                    <a:lnTo>
                      <a:pt x="4658" y="525"/>
                    </a:lnTo>
                    <a:lnTo>
                      <a:pt x="4664" y="568"/>
                    </a:lnTo>
                    <a:lnTo>
                      <a:pt x="4664" y="1723"/>
                    </a:lnTo>
                    <a:lnTo>
                      <a:pt x="5643" y="93"/>
                    </a:lnTo>
                    <a:lnTo>
                      <a:pt x="5665" y="64"/>
                    </a:lnTo>
                    <a:lnTo>
                      <a:pt x="5693" y="38"/>
                    </a:lnTo>
                    <a:lnTo>
                      <a:pt x="5724" y="18"/>
                    </a:lnTo>
                    <a:lnTo>
                      <a:pt x="5760" y="6"/>
                    </a:lnTo>
                    <a:lnTo>
                      <a:pt x="57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</p:grpSp>
      </p:grpSp>
      <p:sp>
        <p:nvSpPr>
          <p:cNvPr id="15" name="TextBox 9"/>
          <p:cNvSpPr txBox="1"/>
          <p:nvPr/>
        </p:nvSpPr>
        <p:spPr>
          <a:xfrm>
            <a:off x="1774190" y="5770880"/>
            <a:ext cx="4199890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en-US" alt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SỐ LƯỢNG CÔNG VIỆC LÀ BAO NHIÊU ? </a:t>
            </a:r>
            <a:endParaRPr lang="en-US" altLang="en-IN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0"/>
          <p:cNvSpPr txBox="1"/>
          <p:nvPr/>
        </p:nvSpPr>
        <p:spPr>
          <a:xfrm>
            <a:off x="2350135" y="6093460"/>
            <a:ext cx="835660" cy="4305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US" altLang="en-IN" sz="2800" dirty="0">
                <a:solidFill>
                  <a:schemeClr val="accent1"/>
                </a:solidFill>
              </a:rPr>
              <a:t>340 </a:t>
            </a:r>
            <a:endParaRPr lang="en-US" altLang="en-IN" sz="2800" dirty="0">
              <a:solidFill>
                <a:schemeClr val="accent1"/>
              </a:solidFill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6265228" y="5663184"/>
            <a:ext cx="531730" cy="531730"/>
            <a:chOff x="4469581" y="499171"/>
            <a:chExt cx="531730" cy="531730"/>
          </a:xfrm>
        </p:grpSpPr>
        <p:sp>
          <p:nvSpPr>
            <p:cNvPr id="41" name="Oval 40"/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en-IN"/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43" name="Freeform 22"/>
              <p:cNvSpPr/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44" name="Freeform 23"/>
              <p:cNvSpPr/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45" name="Freeform 24"/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46" name="Freeform 25"/>
              <p:cNvSpPr/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47" name="Freeform 26"/>
              <p:cNvSpPr/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48" name="Freeform 27"/>
              <p:cNvSpPr/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  <p:sp>
            <p:nvSpPr>
              <p:cNvPr id="49" name="Freeform 28"/>
              <p:cNvSpPr/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p>
                <a:endParaRPr lang="en-IN"/>
              </a:p>
            </p:txBody>
          </p:sp>
        </p:grpSp>
      </p:grpSp>
      <p:sp>
        <p:nvSpPr>
          <p:cNvPr id="50" name="TextBox 9"/>
          <p:cNvSpPr txBox="1"/>
          <p:nvPr/>
        </p:nvSpPr>
        <p:spPr>
          <a:xfrm>
            <a:off x="6958965" y="5847715"/>
            <a:ext cx="2708275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en-US" alt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Ó BAO NHIÊU CHỨNG CHỈ ? </a:t>
            </a:r>
            <a:endParaRPr lang="en-US" altLang="en-IN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02" name="TextBox 201"/>
          <p:cNvSpPr txBox="1"/>
          <p:nvPr/>
        </p:nvSpPr>
        <p:spPr>
          <a:xfrm>
            <a:off x="7750810" y="6101715"/>
            <a:ext cx="679450" cy="4305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US" altLang="en-GB" sz="2800" dirty="0">
                <a:solidFill>
                  <a:schemeClr val="accent2"/>
                </a:solidFill>
              </a:rPr>
              <a:t>7</a:t>
            </a:r>
            <a:endParaRPr lang="en-US" altLang="en-GB" sz="2800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IN" sz="2800">
                <a:latin typeface="Calibri" panose="020F0502020204030204" charset="0"/>
                <a:cs typeface="Calibri" panose="020F0502020204030204" charset="0"/>
              </a:rPr>
              <a:t> ẢNH HƯỞNG CỦA CÔNG VIỆC</a:t>
            </a:r>
            <a:r>
              <a:rPr lang="en-IN" sz="2800">
                <a:latin typeface="Calibri" panose="020F0502020204030204" charset="0"/>
                <a:cs typeface="Calibri" panose="020F0502020204030204" charset="0"/>
              </a:rPr>
              <a:t> </a:t>
            </a:r>
            <a:r>
              <a:rPr lang="en-US" altLang="en-IN" sz="2800">
                <a:latin typeface="Calibri" panose="020F0502020204030204" charset="0"/>
                <a:cs typeface="Calibri" panose="020F0502020204030204" charset="0"/>
              </a:rPr>
              <a:t>ĐẾN PHÂN BỐ LƯƠNG CỦA GIÁO VIÊN?</a:t>
            </a:r>
            <a:endParaRPr lang="en-US" altLang="en-IN" sz="2800"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17" name="Content Placeholder 16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878205" y="692785"/>
            <a:ext cx="10884535" cy="6059805"/>
          </a:xfrm>
          <a:prstGeom prst="rect">
            <a:avLst/>
          </a:prstGeom>
        </p:spPr>
      </p:pic>
      <p:sp>
        <p:nvSpPr>
          <p:cNvPr id="18" name="Text Box 17"/>
          <p:cNvSpPr txBox="1"/>
          <p:nvPr/>
        </p:nvSpPr>
        <p:spPr>
          <a:xfrm rot="16200000">
            <a:off x="182880" y="2223770"/>
            <a:ext cx="95694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lary</a:t>
            </a:r>
            <a:endParaRPr lang="en-US" b="1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Box 18"/>
          <p:cNvSpPr txBox="1"/>
          <p:nvPr/>
        </p:nvSpPr>
        <p:spPr>
          <a:xfrm>
            <a:off x="4798060" y="6165215"/>
            <a:ext cx="165544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mary job</a:t>
            </a:r>
            <a:endParaRPr lang="en-US" b="1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228541" y="170032"/>
            <a:ext cx="2501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Calibri Light" panose="020F0302020204030204" pitchFamily="34" charset="0"/>
              </a:rPr>
              <a:t>Simple Project Manager 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795" y="914142"/>
            <a:ext cx="3174012" cy="546782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433136" y="1259811"/>
            <a:ext cx="2500706" cy="4759110"/>
            <a:chOff x="433136" y="1261203"/>
            <a:chExt cx="2500706" cy="4759110"/>
          </a:xfrm>
        </p:grpSpPr>
        <p:grpSp>
          <p:nvGrpSpPr>
            <p:cNvPr id="11" name="Group 10"/>
            <p:cNvGrpSpPr/>
            <p:nvPr/>
          </p:nvGrpSpPr>
          <p:grpSpPr>
            <a:xfrm>
              <a:off x="433136" y="1261203"/>
              <a:ext cx="2500706" cy="1429830"/>
              <a:chOff x="433136" y="821585"/>
              <a:chExt cx="2500706" cy="1429830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433136" y="821585"/>
                <a:ext cx="2500706" cy="1429830"/>
                <a:chOff x="433136" y="964541"/>
                <a:chExt cx="2500706" cy="1429830"/>
              </a:xfrm>
            </p:grpSpPr>
            <p:sp>
              <p:nvSpPr>
                <p:cNvPr id="81" name="TextBox 80"/>
                <p:cNvSpPr txBox="1"/>
                <p:nvPr/>
              </p:nvSpPr>
              <p:spPr>
                <a:xfrm>
                  <a:off x="957722" y="1532676"/>
                  <a:ext cx="1976120" cy="86169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4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</a:rPr>
                    <a:t>Chức vụ chiếm tỉ lệ mức lương thấp nhất là Resource Program Pull-out Support.</a:t>
                  </a:r>
                  <a:endPara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</a:endParaRPr>
                </a:p>
              </p:txBody>
            </p:sp>
            <p:sp>
              <p:nvSpPr>
                <p:cNvPr id="41" name="Freeform: Shape 40"/>
                <p:cNvSpPr/>
                <p:nvPr/>
              </p:nvSpPr>
              <p:spPr>
                <a:xfrm>
                  <a:off x="433136" y="964541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</p:spPr>
              <p:txBody>
                <a:bodyPr vert="horz" wrap="square" lIns="252000" tIns="45720" rIns="91440" bIns="180000" numCol="1" anchor="ctr" anchorCtr="0" compatLnSpc="1"/>
                <a:lstStyle/>
                <a:p>
                  <a:r>
                    <a:rPr lang="en-US" sz="1600" b="1" dirty="0">
                      <a:solidFill>
                        <a:schemeClr val="bg1"/>
                      </a:solidFill>
                    </a:rPr>
                    <a:t>Nhận xét</a:t>
                  </a:r>
                  <a:r>
                    <a:rPr lang="en-US" sz="1200" b="1" dirty="0">
                      <a:solidFill>
                        <a:schemeClr val="bg1"/>
                      </a:solidFill>
                    </a:rPr>
                    <a:t> </a:t>
                  </a:r>
                  <a:endParaRPr lang="en-US" sz="12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67" name="Group 66"/>
              <p:cNvGrpSpPr/>
              <p:nvPr/>
            </p:nvGrpSpPr>
            <p:grpSpPr>
              <a:xfrm>
                <a:off x="2457723" y="894433"/>
                <a:ext cx="176445" cy="177239"/>
                <a:chOff x="6997700" y="2532063"/>
                <a:chExt cx="352426" cy="354013"/>
              </a:xfrm>
              <a:solidFill>
                <a:schemeClr val="bg1"/>
              </a:solidFill>
            </p:grpSpPr>
            <p:sp>
              <p:nvSpPr>
                <p:cNvPr id="68" name="Freeform 79"/>
                <p:cNvSpPr/>
                <p:nvPr/>
              </p:nvSpPr>
              <p:spPr bwMode="auto">
                <a:xfrm>
                  <a:off x="7294563" y="2570163"/>
                  <a:ext cx="55563" cy="60325"/>
                </a:xfrm>
                <a:custGeom>
                  <a:avLst/>
                  <a:gdLst>
                    <a:gd name="T0" fmla="*/ 14 w 15"/>
                    <a:gd name="T1" fmla="*/ 7 h 16"/>
                    <a:gd name="T2" fmla="*/ 8 w 15"/>
                    <a:gd name="T3" fmla="*/ 0 h 16"/>
                    <a:gd name="T4" fmla="*/ 0 w 15"/>
                    <a:gd name="T5" fmla="*/ 7 h 16"/>
                    <a:gd name="T6" fmla="*/ 0 w 15"/>
                    <a:gd name="T7" fmla="*/ 8 h 16"/>
                    <a:gd name="T8" fmla="*/ 8 w 15"/>
                    <a:gd name="T9" fmla="*/ 16 h 16"/>
                    <a:gd name="T10" fmla="*/ 14 w 15"/>
                    <a:gd name="T11" fmla="*/ 9 h 16"/>
                    <a:gd name="T12" fmla="*/ 14 w 15"/>
                    <a:gd name="T13" fmla="*/ 7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16">
                      <a:moveTo>
                        <a:pt x="14" y="7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5" y="9"/>
                        <a:pt x="15" y="7"/>
                        <a:pt x="14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id-ID"/>
                </a:p>
              </p:txBody>
            </p:sp>
            <p:sp>
              <p:nvSpPr>
                <p:cNvPr id="69" name="Freeform 80"/>
                <p:cNvSpPr/>
                <p:nvPr/>
              </p:nvSpPr>
              <p:spPr bwMode="auto">
                <a:xfrm>
                  <a:off x="7253288" y="2532063"/>
                  <a:ext cx="60325" cy="55563"/>
                </a:xfrm>
                <a:custGeom>
                  <a:avLst/>
                  <a:gdLst>
                    <a:gd name="T0" fmla="*/ 9 w 16"/>
                    <a:gd name="T1" fmla="*/ 15 h 15"/>
                    <a:gd name="T2" fmla="*/ 16 w 16"/>
                    <a:gd name="T3" fmla="*/ 7 h 15"/>
                    <a:gd name="T4" fmla="*/ 9 w 16"/>
                    <a:gd name="T5" fmla="*/ 1 h 15"/>
                    <a:gd name="T6" fmla="*/ 7 w 16"/>
                    <a:gd name="T7" fmla="*/ 1 h 15"/>
                    <a:gd name="T8" fmla="*/ 0 w 16"/>
                    <a:gd name="T9" fmla="*/ 7 h 15"/>
                    <a:gd name="T10" fmla="*/ 8 w 16"/>
                    <a:gd name="T11" fmla="*/ 15 h 15"/>
                    <a:gd name="T12" fmla="*/ 9 w 16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" h="15">
                      <a:moveTo>
                        <a:pt x="9" y="15"/>
                      </a:move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9" y="0"/>
                        <a:pt x="7" y="0"/>
                        <a:pt x="7" y="1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8" y="15"/>
                        <a:pt x="8" y="15"/>
                        <a:pt x="8" y="15"/>
                      </a:cubicBezTo>
                      <a:cubicBezTo>
                        <a:pt x="8" y="15"/>
                        <a:pt x="8" y="15"/>
                        <a:pt x="9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id-ID"/>
                </a:p>
              </p:txBody>
            </p:sp>
            <p:sp>
              <p:nvSpPr>
                <p:cNvPr id="70" name="Freeform 81"/>
                <p:cNvSpPr>
                  <a:spLocks noEditPoints="1"/>
                </p:cNvSpPr>
                <p:nvPr/>
              </p:nvSpPr>
              <p:spPr bwMode="auto">
                <a:xfrm>
                  <a:off x="6997700" y="2570163"/>
                  <a:ext cx="315913" cy="315913"/>
                </a:xfrm>
                <a:custGeom>
                  <a:avLst/>
                  <a:gdLst>
                    <a:gd name="T0" fmla="*/ 65 w 84"/>
                    <a:gd name="T1" fmla="*/ 0 h 84"/>
                    <a:gd name="T2" fmla="*/ 56 w 84"/>
                    <a:gd name="T3" fmla="*/ 10 h 84"/>
                    <a:gd name="T4" fmla="*/ 46 w 84"/>
                    <a:gd name="T5" fmla="*/ 8 h 84"/>
                    <a:gd name="T6" fmla="*/ 16 w 84"/>
                    <a:gd name="T7" fmla="*/ 38 h 84"/>
                    <a:gd name="T8" fmla="*/ 18 w 84"/>
                    <a:gd name="T9" fmla="*/ 48 h 84"/>
                    <a:gd name="T10" fmla="*/ 1 w 84"/>
                    <a:gd name="T11" fmla="*/ 65 h 84"/>
                    <a:gd name="T12" fmla="*/ 0 w 84"/>
                    <a:gd name="T13" fmla="*/ 66 h 84"/>
                    <a:gd name="T14" fmla="*/ 0 w 84"/>
                    <a:gd name="T15" fmla="*/ 82 h 84"/>
                    <a:gd name="T16" fmla="*/ 2 w 84"/>
                    <a:gd name="T17" fmla="*/ 84 h 84"/>
                    <a:gd name="T18" fmla="*/ 18 w 84"/>
                    <a:gd name="T19" fmla="*/ 84 h 84"/>
                    <a:gd name="T20" fmla="*/ 19 w 84"/>
                    <a:gd name="T21" fmla="*/ 83 h 84"/>
                    <a:gd name="T22" fmla="*/ 36 w 84"/>
                    <a:gd name="T23" fmla="*/ 66 h 84"/>
                    <a:gd name="T24" fmla="*/ 46 w 84"/>
                    <a:gd name="T25" fmla="*/ 68 h 84"/>
                    <a:gd name="T26" fmla="*/ 76 w 84"/>
                    <a:gd name="T27" fmla="*/ 38 h 84"/>
                    <a:gd name="T28" fmla="*/ 74 w 84"/>
                    <a:gd name="T29" fmla="*/ 28 h 84"/>
                    <a:gd name="T30" fmla="*/ 84 w 84"/>
                    <a:gd name="T31" fmla="*/ 19 h 84"/>
                    <a:gd name="T32" fmla="*/ 65 w 84"/>
                    <a:gd name="T33" fmla="*/ 0 h 84"/>
                    <a:gd name="T34" fmla="*/ 14 w 84"/>
                    <a:gd name="T35" fmla="*/ 72 h 84"/>
                    <a:gd name="T36" fmla="*/ 12 w 84"/>
                    <a:gd name="T37" fmla="*/ 70 h 84"/>
                    <a:gd name="T38" fmla="*/ 14 w 84"/>
                    <a:gd name="T39" fmla="*/ 68 h 84"/>
                    <a:gd name="T40" fmla="*/ 16 w 84"/>
                    <a:gd name="T41" fmla="*/ 70 h 84"/>
                    <a:gd name="T42" fmla="*/ 14 w 84"/>
                    <a:gd name="T43" fmla="*/ 72 h 84"/>
                    <a:gd name="T44" fmla="*/ 20 w 84"/>
                    <a:gd name="T45" fmla="*/ 66 h 84"/>
                    <a:gd name="T46" fmla="*/ 18 w 84"/>
                    <a:gd name="T47" fmla="*/ 64 h 84"/>
                    <a:gd name="T48" fmla="*/ 20 w 84"/>
                    <a:gd name="T49" fmla="*/ 62 h 84"/>
                    <a:gd name="T50" fmla="*/ 22 w 84"/>
                    <a:gd name="T51" fmla="*/ 64 h 84"/>
                    <a:gd name="T52" fmla="*/ 20 w 84"/>
                    <a:gd name="T53" fmla="*/ 66 h 84"/>
                    <a:gd name="T54" fmla="*/ 46 w 84"/>
                    <a:gd name="T55" fmla="*/ 64 h 84"/>
                    <a:gd name="T56" fmla="*/ 20 w 84"/>
                    <a:gd name="T57" fmla="*/ 38 h 84"/>
                    <a:gd name="T58" fmla="*/ 46 w 84"/>
                    <a:gd name="T59" fmla="*/ 12 h 84"/>
                    <a:gd name="T60" fmla="*/ 72 w 84"/>
                    <a:gd name="T61" fmla="*/ 38 h 84"/>
                    <a:gd name="T62" fmla="*/ 46 w 84"/>
                    <a:gd name="T63" fmla="*/ 6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4" h="84">
                      <a:moveTo>
                        <a:pt x="65" y="0"/>
                      </a:move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3" y="9"/>
                        <a:pt x="49" y="8"/>
                        <a:pt x="46" y="8"/>
                      </a:cubicBezTo>
                      <a:cubicBezTo>
                        <a:pt x="29" y="8"/>
                        <a:pt x="16" y="21"/>
                        <a:pt x="16" y="38"/>
                      </a:cubicBezTo>
                      <a:cubicBezTo>
                        <a:pt x="16" y="41"/>
                        <a:pt x="17" y="45"/>
                        <a:pt x="18" y="48"/>
                      </a:cubicBezTo>
                      <a:cubicBezTo>
                        <a:pt x="1" y="65"/>
                        <a:pt x="1" y="65"/>
                        <a:pt x="1" y="65"/>
                      </a:cubicBezTo>
                      <a:cubicBezTo>
                        <a:pt x="0" y="65"/>
                        <a:pt x="0" y="65"/>
                        <a:pt x="0" y="66"/>
                      </a:cubicBezTo>
                      <a:cubicBezTo>
                        <a:pt x="0" y="82"/>
                        <a:pt x="0" y="82"/>
                        <a:pt x="0" y="82"/>
                      </a:cubicBezTo>
                      <a:cubicBezTo>
                        <a:pt x="0" y="83"/>
                        <a:pt x="1" y="84"/>
                        <a:pt x="2" y="84"/>
                      </a:cubicBezTo>
                      <a:cubicBezTo>
                        <a:pt x="18" y="84"/>
                        <a:pt x="18" y="84"/>
                        <a:pt x="18" y="84"/>
                      </a:cubicBezTo>
                      <a:cubicBezTo>
                        <a:pt x="19" y="84"/>
                        <a:pt x="19" y="84"/>
                        <a:pt x="19" y="83"/>
                      </a:cubicBezTo>
                      <a:cubicBezTo>
                        <a:pt x="36" y="66"/>
                        <a:pt x="36" y="66"/>
                        <a:pt x="36" y="66"/>
                      </a:cubicBezTo>
                      <a:cubicBezTo>
                        <a:pt x="39" y="67"/>
                        <a:pt x="43" y="68"/>
                        <a:pt x="46" y="68"/>
                      </a:cubicBezTo>
                      <a:cubicBezTo>
                        <a:pt x="63" y="68"/>
                        <a:pt x="76" y="55"/>
                        <a:pt x="76" y="38"/>
                      </a:cubicBezTo>
                      <a:cubicBezTo>
                        <a:pt x="76" y="35"/>
                        <a:pt x="75" y="31"/>
                        <a:pt x="74" y="28"/>
                      </a:cubicBezTo>
                      <a:cubicBezTo>
                        <a:pt x="84" y="19"/>
                        <a:pt x="84" y="19"/>
                        <a:pt x="84" y="19"/>
                      </a:cubicBezTo>
                      <a:lnTo>
                        <a:pt x="65" y="0"/>
                      </a:lnTo>
                      <a:close/>
                      <a:moveTo>
                        <a:pt x="14" y="72"/>
                      </a:moveTo>
                      <a:cubicBezTo>
                        <a:pt x="13" y="72"/>
                        <a:pt x="12" y="71"/>
                        <a:pt x="12" y="70"/>
                      </a:cubicBezTo>
                      <a:cubicBezTo>
                        <a:pt x="12" y="69"/>
                        <a:pt x="13" y="68"/>
                        <a:pt x="14" y="68"/>
                      </a:cubicBezTo>
                      <a:cubicBezTo>
                        <a:pt x="15" y="68"/>
                        <a:pt x="16" y="69"/>
                        <a:pt x="16" y="70"/>
                      </a:cubicBezTo>
                      <a:cubicBezTo>
                        <a:pt x="16" y="71"/>
                        <a:pt x="15" y="72"/>
                        <a:pt x="14" y="72"/>
                      </a:cubicBezTo>
                      <a:close/>
                      <a:moveTo>
                        <a:pt x="20" y="66"/>
                      </a:moveTo>
                      <a:cubicBezTo>
                        <a:pt x="19" y="66"/>
                        <a:pt x="18" y="65"/>
                        <a:pt x="18" y="64"/>
                      </a:cubicBezTo>
                      <a:cubicBezTo>
                        <a:pt x="18" y="63"/>
                        <a:pt x="19" y="62"/>
                        <a:pt x="20" y="62"/>
                      </a:cubicBezTo>
                      <a:cubicBezTo>
                        <a:pt x="21" y="62"/>
                        <a:pt x="22" y="63"/>
                        <a:pt x="22" y="64"/>
                      </a:cubicBezTo>
                      <a:cubicBezTo>
                        <a:pt x="22" y="65"/>
                        <a:pt x="21" y="66"/>
                        <a:pt x="20" y="66"/>
                      </a:cubicBezTo>
                      <a:close/>
                      <a:moveTo>
                        <a:pt x="46" y="64"/>
                      </a:moveTo>
                      <a:cubicBezTo>
                        <a:pt x="32" y="64"/>
                        <a:pt x="20" y="52"/>
                        <a:pt x="20" y="38"/>
                      </a:cubicBezTo>
                      <a:cubicBezTo>
                        <a:pt x="20" y="24"/>
                        <a:pt x="32" y="12"/>
                        <a:pt x="46" y="12"/>
                      </a:cubicBezTo>
                      <a:cubicBezTo>
                        <a:pt x="60" y="12"/>
                        <a:pt x="72" y="24"/>
                        <a:pt x="72" y="38"/>
                      </a:cubicBezTo>
                      <a:cubicBezTo>
                        <a:pt x="72" y="52"/>
                        <a:pt x="60" y="64"/>
                        <a:pt x="46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id-ID"/>
                </a:p>
              </p:txBody>
            </p:sp>
            <p:sp>
              <p:nvSpPr>
                <p:cNvPr id="71" name="Freeform 82"/>
                <p:cNvSpPr/>
                <p:nvPr/>
              </p:nvSpPr>
              <p:spPr bwMode="auto">
                <a:xfrm>
                  <a:off x="7162800" y="2667000"/>
                  <a:ext cx="60325" cy="98425"/>
                </a:xfrm>
                <a:custGeom>
                  <a:avLst/>
                  <a:gdLst>
                    <a:gd name="T0" fmla="*/ 4 w 16"/>
                    <a:gd name="T1" fmla="*/ 11 h 26"/>
                    <a:gd name="T2" fmla="*/ 4 w 16"/>
                    <a:gd name="T3" fmla="*/ 2 h 26"/>
                    <a:gd name="T4" fmla="*/ 2 w 16"/>
                    <a:gd name="T5" fmla="*/ 0 h 26"/>
                    <a:gd name="T6" fmla="*/ 0 w 16"/>
                    <a:gd name="T7" fmla="*/ 2 h 26"/>
                    <a:gd name="T8" fmla="*/ 0 w 16"/>
                    <a:gd name="T9" fmla="*/ 12 h 26"/>
                    <a:gd name="T10" fmla="*/ 1 w 16"/>
                    <a:gd name="T11" fmla="*/ 13 h 26"/>
                    <a:gd name="T12" fmla="*/ 13 w 16"/>
                    <a:gd name="T13" fmla="*/ 25 h 26"/>
                    <a:gd name="T14" fmla="*/ 14 w 16"/>
                    <a:gd name="T15" fmla="*/ 26 h 26"/>
                    <a:gd name="T16" fmla="*/ 15 w 16"/>
                    <a:gd name="T17" fmla="*/ 25 h 26"/>
                    <a:gd name="T18" fmla="*/ 15 w 16"/>
                    <a:gd name="T19" fmla="*/ 23 h 26"/>
                    <a:gd name="T20" fmla="*/ 4 w 16"/>
                    <a:gd name="T21" fmla="*/ 11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26">
                      <a:moveTo>
                        <a:pt x="4" y="11"/>
                      </a:move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4" y="1"/>
                        <a:pt x="3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3"/>
                        <a:pt x="0" y="13"/>
                        <a:pt x="1" y="13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3" y="26"/>
                        <a:pt x="13" y="26"/>
                        <a:pt x="14" y="26"/>
                      </a:cubicBezTo>
                      <a:cubicBezTo>
                        <a:pt x="15" y="26"/>
                        <a:pt x="15" y="26"/>
                        <a:pt x="15" y="25"/>
                      </a:cubicBezTo>
                      <a:cubicBezTo>
                        <a:pt x="16" y="25"/>
                        <a:pt x="16" y="23"/>
                        <a:pt x="15" y="23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id-ID"/>
                </a:p>
              </p:txBody>
            </p:sp>
          </p:grpSp>
        </p:grpSp>
        <p:grpSp>
          <p:nvGrpSpPr>
            <p:cNvPr id="4" name="Group 3"/>
            <p:cNvGrpSpPr/>
            <p:nvPr/>
          </p:nvGrpSpPr>
          <p:grpSpPr>
            <a:xfrm rot="0">
              <a:off x="694197" y="3142806"/>
              <a:ext cx="2104390" cy="1889760"/>
              <a:chOff x="596883" y="2730493"/>
              <a:chExt cx="2104390" cy="1889760"/>
            </a:xfrm>
          </p:grpSpPr>
          <p:sp>
            <p:nvSpPr>
              <p:cNvPr id="87" name="TextBox 86"/>
              <p:cNvSpPr txBox="1"/>
              <p:nvPr/>
            </p:nvSpPr>
            <p:spPr>
              <a:xfrm>
                <a:off x="885173" y="2730493"/>
                <a:ext cx="1805940" cy="8616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ức Lương cũng phụ thuộc vào những yếu tố khác: năm kinh nghiệm, vị trí, thành phố,...</a:t>
                </a:r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</a:t>
                </a:r>
                <a:endPara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860408" y="3974458"/>
                <a:ext cx="1840865" cy="6457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rình độ cao thì mức lương sẽ cao theo đúng trình độ</a:t>
                </a:r>
                <a:endPara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37" name="Rectangle 136"/>
              <p:cNvSpPr/>
              <p:nvPr/>
            </p:nvSpPr>
            <p:spPr>
              <a:xfrm>
                <a:off x="596883" y="2802288"/>
                <a:ext cx="107972" cy="108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596883" y="4026556"/>
                <a:ext cx="107972" cy="108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92" name="TextBox 91"/>
            <p:cNvSpPr txBox="1"/>
            <p:nvPr/>
          </p:nvSpPr>
          <p:spPr>
            <a:xfrm>
              <a:off x="899937" y="5374518"/>
              <a:ext cx="1830070" cy="6457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ó bằng cấp thì mức lương cao hơn so với không có bằng cấp.</a:t>
              </a: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938" y="220345"/>
            <a:ext cx="11664949" cy="288330"/>
          </a:xfrm>
        </p:spPr>
        <p:txBody>
          <a:bodyPr/>
          <a:lstStyle/>
          <a:p>
            <a:r>
              <a:rPr lang="en-US" sz="2800" dirty="0">
                <a:latin typeface="Calibri" panose="020F0502020204030204" charset="0"/>
                <a:cs typeface="Calibri" panose="020F0502020204030204" charset="0"/>
                <a:sym typeface="+mn-ea"/>
              </a:rPr>
              <a:t>TRÌNH ĐỘ ẢNH HƯỞNG NHƯ THẾ NÀO ĐẾN PHÂN BỐ LƯƠNG ?</a:t>
            </a:r>
            <a:endParaRPr lang="en-US" sz="2800" dirty="0">
              <a:latin typeface="Calibri" panose="020F0502020204030204" charset="0"/>
              <a:cs typeface="Calibri" panose="020F0502020204030204" charset="0"/>
              <a:sym typeface="+mn-ea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8550247" y="3800318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103" name="Group 102"/>
          <p:cNvGrpSpPr/>
          <p:nvPr/>
        </p:nvGrpSpPr>
        <p:grpSpPr>
          <a:xfrm>
            <a:off x="8697079" y="3976995"/>
            <a:ext cx="228976" cy="228976"/>
            <a:chOff x="8447088" y="5060951"/>
            <a:chExt cx="346075" cy="346075"/>
          </a:xfrm>
        </p:grpSpPr>
        <p:sp>
          <p:nvSpPr>
            <p:cNvPr id="104" name="Freeform 365"/>
            <p:cNvSpPr/>
            <p:nvPr/>
          </p:nvSpPr>
          <p:spPr bwMode="auto">
            <a:xfrm>
              <a:off x="8523288" y="5121276"/>
              <a:ext cx="195263" cy="150813"/>
            </a:xfrm>
            <a:custGeom>
              <a:avLst/>
              <a:gdLst>
                <a:gd name="T0" fmla="*/ 123 w 123"/>
                <a:gd name="T1" fmla="*/ 95 h 95"/>
                <a:gd name="T2" fmla="*/ 123 w 123"/>
                <a:gd name="T3" fmla="*/ 19 h 95"/>
                <a:gd name="T4" fmla="*/ 52 w 123"/>
                <a:gd name="T5" fmla="*/ 19 h 95"/>
                <a:gd name="T6" fmla="*/ 42 w 123"/>
                <a:gd name="T7" fmla="*/ 0 h 95"/>
                <a:gd name="T8" fmla="*/ 0 w 123"/>
                <a:gd name="T9" fmla="*/ 0 h 95"/>
                <a:gd name="T10" fmla="*/ 0 w 123"/>
                <a:gd name="T11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5">
                  <a:moveTo>
                    <a:pt x="123" y="95"/>
                  </a:moveTo>
                  <a:lnTo>
                    <a:pt x="123" y="19"/>
                  </a:lnTo>
                  <a:lnTo>
                    <a:pt x="52" y="19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95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05" name="Freeform 366"/>
            <p:cNvSpPr/>
            <p:nvPr/>
          </p:nvSpPr>
          <p:spPr bwMode="auto">
            <a:xfrm>
              <a:off x="8537575" y="5091113"/>
              <a:ext cx="165100" cy="30163"/>
            </a:xfrm>
            <a:custGeom>
              <a:avLst/>
              <a:gdLst>
                <a:gd name="T0" fmla="*/ 104 w 104"/>
                <a:gd name="T1" fmla="*/ 19 h 19"/>
                <a:gd name="T2" fmla="*/ 52 w 104"/>
                <a:gd name="T3" fmla="*/ 19 h 19"/>
                <a:gd name="T4" fmla="*/ 43 w 104"/>
                <a:gd name="T5" fmla="*/ 0 h 19"/>
                <a:gd name="T6" fmla="*/ 0 w 104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19">
                  <a:moveTo>
                    <a:pt x="104" y="19"/>
                  </a:moveTo>
                  <a:lnTo>
                    <a:pt x="52" y="19"/>
                  </a:lnTo>
                  <a:lnTo>
                    <a:pt x="43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06" name="Freeform 367"/>
            <p:cNvSpPr/>
            <p:nvPr/>
          </p:nvSpPr>
          <p:spPr bwMode="auto">
            <a:xfrm>
              <a:off x="8553450" y="5060951"/>
              <a:ext cx="134938" cy="30163"/>
            </a:xfrm>
            <a:custGeom>
              <a:avLst/>
              <a:gdLst>
                <a:gd name="T0" fmla="*/ 85 w 85"/>
                <a:gd name="T1" fmla="*/ 19 h 19"/>
                <a:gd name="T2" fmla="*/ 52 w 85"/>
                <a:gd name="T3" fmla="*/ 19 h 19"/>
                <a:gd name="T4" fmla="*/ 42 w 85"/>
                <a:gd name="T5" fmla="*/ 0 h 19"/>
                <a:gd name="T6" fmla="*/ 0 w 8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19">
                  <a:moveTo>
                    <a:pt x="85" y="19"/>
                  </a:moveTo>
                  <a:lnTo>
                    <a:pt x="52" y="19"/>
                  </a:lnTo>
                  <a:lnTo>
                    <a:pt x="42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07" name="Freeform 368"/>
            <p:cNvSpPr/>
            <p:nvPr/>
          </p:nvSpPr>
          <p:spPr bwMode="auto">
            <a:xfrm>
              <a:off x="8447088" y="5302251"/>
              <a:ext cx="346075" cy="104775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08" name="Freeform 369"/>
            <p:cNvSpPr/>
            <p:nvPr/>
          </p:nvSpPr>
          <p:spPr bwMode="auto">
            <a:xfrm>
              <a:off x="8447088" y="5211763"/>
              <a:ext cx="76200" cy="90488"/>
            </a:xfrm>
            <a:custGeom>
              <a:avLst/>
              <a:gdLst>
                <a:gd name="T0" fmla="*/ 0 w 48"/>
                <a:gd name="T1" fmla="*/ 57 h 57"/>
                <a:gd name="T2" fmla="*/ 33 w 48"/>
                <a:gd name="T3" fmla="*/ 0 h 57"/>
                <a:gd name="T4" fmla="*/ 48 w 48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57"/>
                  </a:moveTo>
                  <a:lnTo>
                    <a:pt x="33" y="0"/>
                  </a:lnTo>
                  <a:lnTo>
                    <a:pt x="48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09" name="Freeform 370"/>
            <p:cNvSpPr/>
            <p:nvPr/>
          </p:nvSpPr>
          <p:spPr bwMode="auto">
            <a:xfrm>
              <a:off x="8718550" y="5211763"/>
              <a:ext cx="74613" cy="90488"/>
            </a:xfrm>
            <a:custGeom>
              <a:avLst/>
              <a:gdLst>
                <a:gd name="T0" fmla="*/ 0 w 47"/>
                <a:gd name="T1" fmla="*/ 0 h 57"/>
                <a:gd name="T2" fmla="*/ 14 w 47"/>
                <a:gd name="T3" fmla="*/ 0 h 57"/>
                <a:gd name="T4" fmla="*/ 47 w 4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0"/>
                  </a:moveTo>
                  <a:lnTo>
                    <a:pt x="14" y="0"/>
                  </a:lnTo>
                  <a:lnTo>
                    <a:pt x="47" y="5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110" name="Freeform 371"/>
            <p:cNvSpPr/>
            <p:nvPr/>
          </p:nvSpPr>
          <p:spPr bwMode="auto">
            <a:xfrm>
              <a:off x="8583613" y="5181601"/>
              <a:ext cx="88900" cy="90488"/>
            </a:xfrm>
            <a:custGeom>
              <a:avLst/>
              <a:gdLst>
                <a:gd name="T0" fmla="*/ 16 w 24"/>
                <a:gd name="T1" fmla="*/ 13 h 24"/>
                <a:gd name="T2" fmla="*/ 19 w 24"/>
                <a:gd name="T3" fmla="*/ 7 h 24"/>
                <a:gd name="T4" fmla="*/ 12 w 24"/>
                <a:gd name="T5" fmla="*/ 0 h 24"/>
                <a:gd name="T6" fmla="*/ 5 w 24"/>
                <a:gd name="T7" fmla="*/ 7 h 24"/>
                <a:gd name="T8" fmla="*/ 8 w 24"/>
                <a:gd name="T9" fmla="*/ 13 h 24"/>
                <a:gd name="T10" fmla="*/ 0 w 24"/>
                <a:gd name="T11" fmla="*/ 24 h 24"/>
                <a:gd name="T12" fmla="*/ 24 w 24"/>
                <a:gd name="T13" fmla="*/ 24 h 24"/>
                <a:gd name="T14" fmla="*/ 16 w 24"/>
                <a:gd name="T15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16" y="13"/>
                  </a:moveTo>
                  <a:cubicBezTo>
                    <a:pt x="18" y="11"/>
                    <a:pt x="19" y="9"/>
                    <a:pt x="19" y="7"/>
                  </a:cubicBezTo>
                  <a:cubicBezTo>
                    <a:pt x="19" y="3"/>
                    <a:pt x="16" y="0"/>
                    <a:pt x="12" y="0"/>
                  </a:cubicBezTo>
                  <a:cubicBezTo>
                    <a:pt x="8" y="0"/>
                    <a:pt x="5" y="3"/>
                    <a:pt x="5" y="7"/>
                  </a:cubicBezTo>
                  <a:cubicBezTo>
                    <a:pt x="5" y="9"/>
                    <a:pt x="6" y="11"/>
                    <a:pt x="8" y="13"/>
                  </a:cubicBezTo>
                  <a:cubicBezTo>
                    <a:pt x="3" y="14"/>
                    <a:pt x="0" y="17"/>
                    <a:pt x="0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17"/>
                    <a:pt x="21" y="14"/>
                    <a:pt x="16" y="13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</p:grpSp>
      <p:pic>
        <p:nvPicPr>
          <p:cNvPr id="9" name="Content Placeholder 8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 rot="5400000">
            <a:off x="7874000" y="-579120"/>
            <a:ext cx="3164205" cy="54260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9610" y="914400"/>
            <a:ext cx="3512820" cy="534098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7889240" y="2426335"/>
            <a:ext cx="3075305" cy="5425440"/>
          </a:xfrm>
          <a:prstGeom prst="rect">
            <a:avLst/>
          </a:prstGeom>
        </p:spPr>
      </p:pic>
      <p:sp>
        <p:nvSpPr>
          <p:cNvPr id="16" name="Rectangle 136"/>
          <p:cNvSpPr/>
          <p:nvPr/>
        </p:nvSpPr>
        <p:spPr>
          <a:xfrm>
            <a:off x="694197" y="1917174"/>
            <a:ext cx="107972" cy="10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Rectangle 138"/>
          <p:cNvSpPr/>
          <p:nvPr/>
        </p:nvSpPr>
        <p:spPr>
          <a:xfrm>
            <a:off x="694197" y="5445222"/>
            <a:ext cx="107972" cy="10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2" imgW="8890" imgH="8890" progId="TCLayout.ActiveDocument.1">
                  <p:embed/>
                </p:oleObj>
              </mc:Choice>
              <mc:Fallback>
                <p:oleObj name="think-cell Slide" r:id="rId2" imgW="8890" imgH="8890" progId="TCLayout.ActiveDocument.1">
                  <p:embed/>
                  <p:pic>
                    <p:nvPicPr>
                      <p:cNvPr id="0" name="Object 7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10058587" y="6354556"/>
            <a:ext cx="0" cy="12346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latin typeface="Calibri" panose="020F0502020204030204" charset="0"/>
                <a:cs typeface="Calibri" panose="020F0502020204030204" charset="0"/>
              </a:rPr>
              <a:t>NĂM KINH NGHIỆM ẢNH HƯỞNG NHƯ THẾ NÀO ĐẾN PHÂN BỐ LƯƠNG ?</a:t>
            </a:r>
            <a:endParaRPr lang="en-US" sz="2800">
              <a:latin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982345" y="1029335"/>
            <a:ext cx="5234305" cy="215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TOP 10 CHỨC VỤ CÓ SỐ NĂM KINH NGHIỆM NHIỀU NHẤT ?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grpSp>
        <p:nvGrpSpPr>
          <p:cNvPr id="82" name="Group 81"/>
          <p:cNvGrpSpPr/>
          <p:nvPr/>
        </p:nvGrpSpPr>
        <p:grpSpPr>
          <a:xfrm>
            <a:off x="261938" y="871312"/>
            <a:ext cx="532800" cy="532800"/>
            <a:chOff x="635004" y="470243"/>
            <a:chExt cx="359210" cy="359210"/>
          </a:xfrm>
        </p:grpSpPr>
        <p:sp>
          <p:nvSpPr>
            <p:cNvPr id="83" name="Oval 82"/>
            <p:cNvSpPr/>
            <p:nvPr/>
          </p:nvSpPr>
          <p:spPr>
            <a:xfrm>
              <a:off x="635004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87" name="Group 86"/>
            <p:cNvGrpSpPr/>
            <p:nvPr/>
          </p:nvGrpSpPr>
          <p:grpSpPr>
            <a:xfrm>
              <a:off x="713294" y="605912"/>
              <a:ext cx="210096" cy="94479"/>
              <a:chOff x="2062163" y="1787525"/>
              <a:chExt cx="5207001" cy="2341563"/>
            </a:xfrm>
            <a:solidFill>
              <a:schemeClr val="bg1"/>
            </a:solidFill>
          </p:grpSpPr>
          <p:sp>
            <p:nvSpPr>
              <p:cNvPr id="90" name="Rectangle 33"/>
              <p:cNvSpPr>
                <a:spLocks noChangeArrowheads="1"/>
              </p:cNvSpPr>
              <p:nvPr/>
            </p:nvSpPr>
            <p:spPr bwMode="auto">
              <a:xfrm>
                <a:off x="2062163" y="1827213"/>
                <a:ext cx="2814638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91" name="Rectangle 34"/>
              <p:cNvSpPr>
                <a:spLocks noChangeArrowheads="1"/>
              </p:cNvSpPr>
              <p:nvPr/>
            </p:nvSpPr>
            <p:spPr bwMode="auto">
              <a:xfrm>
                <a:off x="2484438" y="2441575"/>
                <a:ext cx="2813050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92" name="Rectangle 35"/>
              <p:cNvSpPr>
                <a:spLocks noChangeArrowheads="1"/>
              </p:cNvSpPr>
              <p:nvPr/>
            </p:nvSpPr>
            <p:spPr bwMode="auto">
              <a:xfrm>
                <a:off x="2062163" y="3055938"/>
                <a:ext cx="2814638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93" name="Rectangle 36"/>
              <p:cNvSpPr>
                <a:spLocks noChangeArrowheads="1"/>
              </p:cNvSpPr>
              <p:nvPr/>
            </p:nvSpPr>
            <p:spPr bwMode="auto">
              <a:xfrm>
                <a:off x="2203451" y="3670300"/>
                <a:ext cx="2813050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94" name="Freeform 37"/>
              <p:cNvSpPr/>
              <p:nvPr/>
            </p:nvSpPr>
            <p:spPr bwMode="auto">
              <a:xfrm>
                <a:off x="5121276" y="1787525"/>
                <a:ext cx="2147888" cy="2341563"/>
              </a:xfrm>
              <a:custGeom>
                <a:avLst/>
                <a:gdLst>
                  <a:gd name="T0" fmla="*/ 376 w 2706"/>
                  <a:gd name="T1" fmla="*/ 0 h 2950"/>
                  <a:gd name="T2" fmla="*/ 2706 w 2706"/>
                  <a:gd name="T3" fmla="*/ 2541 h 2950"/>
                  <a:gd name="T4" fmla="*/ 2330 w 2706"/>
                  <a:gd name="T5" fmla="*/ 2950 h 2950"/>
                  <a:gd name="T6" fmla="*/ 0 w 2706"/>
                  <a:gd name="T7" fmla="*/ 409 h 2950"/>
                  <a:gd name="T8" fmla="*/ 376 w 2706"/>
                  <a:gd name="T9" fmla="*/ 0 h 2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6" h="2950">
                    <a:moveTo>
                      <a:pt x="376" y="0"/>
                    </a:moveTo>
                    <a:lnTo>
                      <a:pt x="2706" y="2541"/>
                    </a:lnTo>
                    <a:lnTo>
                      <a:pt x="2330" y="2950"/>
                    </a:lnTo>
                    <a:lnTo>
                      <a:pt x="0" y="409"/>
                    </a:lnTo>
                    <a:lnTo>
                      <a:pt x="37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</p:grpSp>
      </p:grpSp>
      <p:grpSp>
        <p:nvGrpSpPr>
          <p:cNvPr id="121" name="Group 120"/>
          <p:cNvGrpSpPr/>
          <p:nvPr/>
        </p:nvGrpSpPr>
        <p:grpSpPr>
          <a:xfrm>
            <a:off x="7018646" y="917897"/>
            <a:ext cx="544172" cy="544172"/>
            <a:chOff x="8267196" y="470243"/>
            <a:chExt cx="359210" cy="359210"/>
          </a:xfrm>
        </p:grpSpPr>
        <p:sp>
          <p:nvSpPr>
            <p:cNvPr id="122" name="Oval 121"/>
            <p:cNvSpPr/>
            <p:nvPr/>
          </p:nvSpPr>
          <p:spPr>
            <a:xfrm>
              <a:off x="8267196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8375441" y="564777"/>
              <a:ext cx="142720" cy="171556"/>
              <a:chOff x="3024188" y="2184400"/>
              <a:chExt cx="4329113" cy="5203825"/>
            </a:xfrm>
            <a:solidFill>
              <a:schemeClr val="bg1"/>
            </a:solidFill>
          </p:grpSpPr>
          <p:sp>
            <p:nvSpPr>
              <p:cNvPr id="125" name="Freeform 55"/>
              <p:cNvSpPr>
                <a:spLocks noEditPoints="1"/>
              </p:cNvSpPr>
              <p:nvPr/>
            </p:nvSpPr>
            <p:spPr bwMode="auto">
              <a:xfrm>
                <a:off x="3024188" y="2184400"/>
                <a:ext cx="4329113" cy="5203825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126" name="Freeform 56"/>
              <p:cNvSpPr/>
              <p:nvPr/>
            </p:nvSpPr>
            <p:spPr bwMode="auto">
              <a:xfrm>
                <a:off x="4305300" y="3106738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128" name="Freeform 57"/>
              <p:cNvSpPr/>
              <p:nvPr/>
            </p:nvSpPr>
            <p:spPr bwMode="auto">
              <a:xfrm>
                <a:off x="4305300" y="3813175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132" name="Freeform 58"/>
              <p:cNvSpPr/>
              <p:nvPr/>
            </p:nvSpPr>
            <p:spPr bwMode="auto">
              <a:xfrm>
                <a:off x="4305300" y="4519613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  <p:sp>
            <p:nvSpPr>
              <p:cNvPr id="133" name="Freeform 59"/>
              <p:cNvSpPr/>
              <p:nvPr/>
            </p:nvSpPr>
            <p:spPr bwMode="auto">
              <a:xfrm>
                <a:off x="4305300" y="5227638"/>
                <a:ext cx="2476500" cy="29527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IN"/>
              </a:p>
            </p:txBody>
          </p:sp>
        </p:grpSp>
      </p:grpSp>
      <p:pic>
        <p:nvPicPr>
          <p:cNvPr id="2" name="Content Placeholder 1"/>
          <p:cNvPicPr>
            <a:picLocks noChangeAspect="1"/>
          </p:cNvPicPr>
          <p:nvPr>
            <p:ph sz="half" idx="1"/>
          </p:nvPr>
        </p:nvPicPr>
        <p:blipFill>
          <a:blip r:embed="rId4"/>
          <a:stretch>
            <a:fillRect/>
          </a:stretch>
        </p:blipFill>
        <p:spPr>
          <a:xfrm rot="5400000">
            <a:off x="1285875" y="1210310"/>
            <a:ext cx="3980180" cy="4961890"/>
          </a:xfrm>
          <a:prstGeom prst="rect">
            <a:avLst/>
          </a:prstGeom>
        </p:spPr>
      </p:pic>
      <p:pic>
        <p:nvPicPr>
          <p:cNvPr id="4" name="Content Placeholder 3"/>
          <p:cNvPicPr>
            <a:picLocks noChangeAspect="1"/>
          </p:cNvPicPr>
          <p:nvPr>
            <p:ph sz="half" idx="2"/>
          </p:nvPr>
        </p:nvPicPr>
        <p:blipFill>
          <a:blip r:embed="rId5"/>
          <a:stretch>
            <a:fillRect/>
          </a:stretch>
        </p:blipFill>
        <p:spPr>
          <a:xfrm rot="5400000">
            <a:off x="7482205" y="1007745"/>
            <a:ext cx="3822700" cy="5426710"/>
          </a:xfrm>
          <a:prstGeom prst="rect">
            <a:avLst/>
          </a:prstGeom>
        </p:spPr>
      </p:pic>
      <p:sp>
        <p:nvSpPr>
          <p:cNvPr id="6" name="Text Box 5"/>
          <p:cNvSpPr txBox="1"/>
          <p:nvPr/>
        </p:nvSpPr>
        <p:spPr>
          <a:xfrm>
            <a:off x="909955" y="5805805"/>
            <a:ext cx="1094613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b="1" u="sng"/>
              <a:t>Kết luận</a:t>
            </a:r>
            <a:r>
              <a:rPr lang="en-US"/>
              <a:t>: số năm kinh nghiệm nhiều nhất là 62 năm, còn ít nhất là chưa có kinh nghiệm</a:t>
            </a:r>
            <a:endParaRPr lang="en-US"/>
          </a:p>
        </p:txBody>
      </p:sp>
      <p:sp>
        <p:nvSpPr>
          <p:cNvPr id="18" name="Text Box 17"/>
          <p:cNvSpPr txBox="1"/>
          <p:nvPr/>
        </p:nvSpPr>
        <p:spPr>
          <a:xfrm>
            <a:off x="3646170" y="1304290"/>
            <a:ext cx="1672590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sz="1600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ăm kinh nghiệm</a:t>
            </a:r>
            <a:endParaRPr lang="en-US" sz="1600" b="1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 Box 8"/>
          <p:cNvSpPr txBox="1"/>
          <p:nvPr/>
        </p:nvSpPr>
        <p:spPr>
          <a:xfrm rot="16200000">
            <a:off x="196215" y="3300095"/>
            <a:ext cx="108966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ức </a:t>
            </a:r>
            <a:r>
              <a:rPr lang="en-US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ụ</a:t>
            </a:r>
            <a:endParaRPr lang="en-US" b="1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Text Box 9"/>
          <p:cNvSpPr txBox="1"/>
          <p:nvPr/>
        </p:nvSpPr>
        <p:spPr>
          <a:xfrm rot="16200000">
            <a:off x="6139815" y="3383280"/>
            <a:ext cx="108966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sz="2000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ức </a:t>
            </a:r>
            <a:r>
              <a:rPr lang="en-US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ụ</a:t>
            </a:r>
            <a:endParaRPr lang="en-US" b="1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xt Box 10"/>
          <p:cNvSpPr txBox="1"/>
          <p:nvPr/>
        </p:nvSpPr>
        <p:spPr>
          <a:xfrm>
            <a:off x="9622790" y="1466215"/>
            <a:ext cx="1672590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sz="1600" b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ăm kinh nghiệm</a:t>
            </a:r>
            <a:endParaRPr lang="en-US" sz="1600" b="1"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Box 80"/>
          <p:cNvSpPr txBox="1"/>
          <p:nvPr/>
        </p:nvSpPr>
        <p:spPr>
          <a:xfrm>
            <a:off x="7730490" y="1071880"/>
            <a:ext cx="4337050" cy="215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TOP 10 CHỨC VỤ CÓ SỐ NĂM KINH NGHIỆM THẤP NHẤT ?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Rectangle 228"/>
          <p:cNvSpPr/>
          <p:nvPr/>
        </p:nvSpPr>
        <p:spPr>
          <a:xfrm>
            <a:off x="133350" y="-24765"/>
            <a:ext cx="3082290" cy="6795770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5" name="Group 84"/>
          <p:cNvGrpSpPr/>
          <p:nvPr/>
        </p:nvGrpSpPr>
        <p:grpSpPr>
          <a:xfrm>
            <a:off x="758715" y="399818"/>
            <a:ext cx="1926945" cy="1680797"/>
            <a:chOff x="633294" y="399818"/>
            <a:chExt cx="1926945" cy="1680797"/>
          </a:xfrm>
        </p:grpSpPr>
        <p:sp>
          <p:nvSpPr>
            <p:cNvPr id="289" name="Freeform 29"/>
            <p:cNvSpPr/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69" name="Freeform 23"/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0" name="Freeform 24"/>
            <p:cNvSpPr/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1" name="Freeform 25"/>
            <p:cNvSpPr/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2" name="Freeform 26"/>
            <p:cNvSpPr/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3" name="Freeform 27"/>
            <p:cNvSpPr/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7" name="Oval 31"/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8" name="Freeform 32"/>
            <p:cNvSpPr/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9" name="Freeform 33"/>
            <p:cNvSpPr/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0" name="Freeform 34"/>
            <p:cNvSpPr/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1" name="Freeform 35"/>
            <p:cNvSpPr/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2" name="Freeform 36"/>
            <p:cNvSpPr/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3" name="Freeform 37"/>
            <p:cNvSpPr/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4" name="Freeform 38"/>
            <p:cNvSpPr/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5" name="Freeform 39"/>
            <p:cNvSpPr/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6" name="Freeform 40"/>
            <p:cNvSpPr/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7" name="Freeform 41"/>
            <p:cNvSpPr/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88" name="TextBox 287"/>
            <p:cNvSpPr txBox="1"/>
            <p:nvPr/>
          </p:nvSpPr>
          <p:spPr>
            <a:xfrm>
              <a:off x="1004288" y="1728186"/>
              <a:ext cx="1229407" cy="2768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en-IN" sz="1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Caterogy</a:t>
              </a:r>
              <a:endParaRPr lang="en-US" altLang="en-IN" sz="1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1" name="TextBox 290"/>
            <p:cNvSpPr txBox="1"/>
            <p:nvPr/>
          </p:nvSpPr>
          <p:spPr>
            <a:xfrm>
              <a:off x="2092665" y="1503212"/>
              <a:ext cx="243232" cy="1384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IN" sz="900" b="1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93" name="Freeform 29"/>
          <p:cNvSpPr/>
          <p:nvPr/>
        </p:nvSpPr>
        <p:spPr bwMode="auto">
          <a:xfrm>
            <a:off x="899812" y="2689531"/>
            <a:ext cx="1643722" cy="1127741"/>
          </a:xfrm>
          <a:custGeom>
            <a:avLst/>
            <a:gdLst>
              <a:gd name="T0" fmla="*/ 847 w 847"/>
              <a:gd name="T1" fmla="*/ 423 h 582"/>
              <a:gd name="T2" fmla="*/ 816 w 847"/>
              <a:gd name="T3" fmla="*/ 582 h 582"/>
              <a:gd name="T4" fmla="*/ 31 w 847"/>
              <a:gd name="T5" fmla="*/ 582 h 582"/>
              <a:gd name="T6" fmla="*/ 0 w 847"/>
              <a:gd name="T7" fmla="*/ 423 h 582"/>
              <a:gd name="T8" fmla="*/ 423 w 847"/>
              <a:gd name="T9" fmla="*/ 0 h 582"/>
              <a:gd name="T10" fmla="*/ 847 w 847"/>
              <a:gd name="T11" fmla="*/ 423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7" h="582">
                <a:moveTo>
                  <a:pt x="847" y="423"/>
                </a:moveTo>
                <a:cubicBezTo>
                  <a:pt x="847" y="479"/>
                  <a:pt x="836" y="533"/>
                  <a:pt x="816" y="582"/>
                </a:cubicBezTo>
                <a:cubicBezTo>
                  <a:pt x="31" y="582"/>
                  <a:pt x="31" y="582"/>
                  <a:pt x="31" y="582"/>
                </a:cubicBezTo>
                <a:cubicBezTo>
                  <a:pt x="11" y="533"/>
                  <a:pt x="0" y="479"/>
                  <a:pt x="0" y="423"/>
                </a:cubicBezTo>
                <a:cubicBezTo>
                  <a:pt x="0" y="189"/>
                  <a:pt x="190" y="0"/>
                  <a:pt x="423" y="0"/>
                </a:cubicBezTo>
                <a:cubicBezTo>
                  <a:pt x="657" y="0"/>
                  <a:pt x="847" y="189"/>
                  <a:pt x="847" y="4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4" name="Freeform 23"/>
          <p:cNvSpPr>
            <a:spLocks noEditPoints="1"/>
          </p:cNvSpPr>
          <p:nvPr/>
        </p:nvSpPr>
        <p:spPr bwMode="auto">
          <a:xfrm>
            <a:off x="758715" y="2547405"/>
            <a:ext cx="1926945" cy="1680797"/>
          </a:xfrm>
          <a:custGeom>
            <a:avLst/>
            <a:gdLst>
              <a:gd name="T0" fmla="*/ 967 w 993"/>
              <a:gd name="T1" fmla="*/ 656 h 867"/>
              <a:gd name="T2" fmla="*/ 967 w 993"/>
              <a:gd name="T3" fmla="*/ 655 h 867"/>
              <a:gd name="T4" fmla="*/ 967 w 993"/>
              <a:gd name="T5" fmla="*/ 655 h 867"/>
              <a:gd name="T6" fmla="*/ 993 w 993"/>
              <a:gd name="T7" fmla="*/ 496 h 867"/>
              <a:gd name="T8" fmla="*/ 496 w 993"/>
              <a:gd name="T9" fmla="*/ 0 h 867"/>
              <a:gd name="T10" fmla="*/ 0 w 993"/>
              <a:gd name="T11" fmla="*/ 496 h 867"/>
              <a:gd name="T12" fmla="*/ 26 w 993"/>
              <a:gd name="T13" fmla="*/ 655 h 867"/>
              <a:gd name="T14" fmla="*/ 26 w 993"/>
              <a:gd name="T15" fmla="*/ 655 h 867"/>
              <a:gd name="T16" fmla="*/ 26 w 993"/>
              <a:gd name="T17" fmla="*/ 656 h 867"/>
              <a:gd name="T18" fmla="*/ 31 w 993"/>
              <a:gd name="T19" fmla="*/ 669 h 867"/>
              <a:gd name="T20" fmla="*/ 31 w 993"/>
              <a:gd name="T21" fmla="*/ 669 h 867"/>
              <a:gd name="T22" fmla="*/ 36 w 993"/>
              <a:gd name="T23" fmla="*/ 682 h 867"/>
              <a:gd name="T24" fmla="*/ 80 w 993"/>
              <a:gd name="T25" fmla="*/ 767 h 867"/>
              <a:gd name="T26" fmla="*/ 91 w 993"/>
              <a:gd name="T27" fmla="*/ 783 h 867"/>
              <a:gd name="T28" fmla="*/ 108 w 993"/>
              <a:gd name="T29" fmla="*/ 806 h 867"/>
              <a:gd name="T30" fmla="*/ 126 w 993"/>
              <a:gd name="T31" fmla="*/ 828 h 867"/>
              <a:gd name="T32" fmla="*/ 133 w 993"/>
              <a:gd name="T33" fmla="*/ 835 h 867"/>
              <a:gd name="T34" fmla="*/ 133 w 993"/>
              <a:gd name="T35" fmla="*/ 835 h 867"/>
              <a:gd name="T36" fmla="*/ 146 w 993"/>
              <a:gd name="T37" fmla="*/ 848 h 867"/>
              <a:gd name="T38" fmla="*/ 153 w 993"/>
              <a:gd name="T39" fmla="*/ 855 h 867"/>
              <a:gd name="T40" fmla="*/ 158 w 993"/>
              <a:gd name="T41" fmla="*/ 860 h 867"/>
              <a:gd name="T42" fmla="*/ 160 w 993"/>
              <a:gd name="T43" fmla="*/ 861 h 867"/>
              <a:gd name="T44" fmla="*/ 166 w 993"/>
              <a:gd name="T45" fmla="*/ 867 h 867"/>
              <a:gd name="T46" fmla="*/ 827 w 993"/>
              <a:gd name="T47" fmla="*/ 867 h 867"/>
              <a:gd name="T48" fmla="*/ 840 w 993"/>
              <a:gd name="T49" fmla="*/ 855 h 867"/>
              <a:gd name="T50" fmla="*/ 846 w 993"/>
              <a:gd name="T51" fmla="*/ 849 h 867"/>
              <a:gd name="T52" fmla="*/ 860 w 993"/>
              <a:gd name="T53" fmla="*/ 834 h 867"/>
              <a:gd name="T54" fmla="*/ 866 w 993"/>
              <a:gd name="T55" fmla="*/ 828 h 867"/>
              <a:gd name="T56" fmla="*/ 873 w 993"/>
              <a:gd name="T57" fmla="*/ 820 h 867"/>
              <a:gd name="T58" fmla="*/ 878 w 993"/>
              <a:gd name="T59" fmla="*/ 814 h 867"/>
              <a:gd name="T60" fmla="*/ 881 w 993"/>
              <a:gd name="T61" fmla="*/ 811 h 867"/>
              <a:gd name="T62" fmla="*/ 885 w 993"/>
              <a:gd name="T63" fmla="*/ 806 h 867"/>
              <a:gd name="T64" fmla="*/ 897 w 993"/>
              <a:gd name="T65" fmla="*/ 790 h 867"/>
              <a:gd name="T66" fmla="*/ 901 w 993"/>
              <a:gd name="T67" fmla="*/ 784 h 867"/>
              <a:gd name="T68" fmla="*/ 902 w 993"/>
              <a:gd name="T69" fmla="*/ 783 h 867"/>
              <a:gd name="T70" fmla="*/ 907 w 993"/>
              <a:gd name="T71" fmla="*/ 775 h 867"/>
              <a:gd name="T72" fmla="*/ 913 w 993"/>
              <a:gd name="T73" fmla="*/ 767 h 867"/>
              <a:gd name="T74" fmla="*/ 923 w 993"/>
              <a:gd name="T75" fmla="*/ 751 h 867"/>
              <a:gd name="T76" fmla="*/ 928 w 993"/>
              <a:gd name="T77" fmla="*/ 743 h 867"/>
              <a:gd name="T78" fmla="*/ 932 w 993"/>
              <a:gd name="T79" fmla="*/ 735 h 867"/>
              <a:gd name="T80" fmla="*/ 946 w 993"/>
              <a:gd name="T81" fmla="*/ 708 h 867"/>
              <a:gd name="T82" fmla="*/ 949 w 993"/>
              <a:gd name="T83" fmla="*/ 701 h 867"/>
              <a:gd name="T84" fmla="*/ 950 w 993"/>
              <a:gd name="T85" fmla="*/ 700 h 867"/>
              <a:gd name="T86" fmla="*/ 953 w 993"/>
              <a:gd name="T87" fmla="*/ 691 h 867"/>
              <a:gd name="T88" fmla="*/ 957 w 993"/>
              <a:gd name="T89" fmla="*/ 682 h 867"/>
              <a:gd name="T90" fmla="*/ 962 w 993"/>
              <a:gd name="T91" fmla="*/ 669 h 867"/>
              <a:gd name="T92" fmla="*/ 962 w 993"/>
              <a:gd name="T93" fmla="*/ 669 h 867"/>
              <a:gd name="T94" fmla="*/ 967 w 993"/>
              <a:gd name="T95" fmla="*/ 656 h 867"/>
              <a:gd name="T96" fmla="*/ 104 w 993"/>
              <a:gd name="T97" fmla="*/ 655 h 867"/>
              <a:gd name="T98" fmla="*/ 73 w 993"/>
              <a:gd name="T99" fmla="*/ 496 h 867"/>
              <a:gd name="T100" fmla="*/ 496 w 993"/>
              <a:gd name="T101" fmla="*/ 73 h 867"/>
              <a:gd name="T102" fmla="*/ 920 w 993"/>
              <a:gd name="T103" fmla="*/ 496 h 867"/>
              <a:gd name="T104" fmla="*/ 889 w 993"/>
              <a:gd name="T105" fmla="*/ 655 h 867"/>
              <a:gd name="T106" fmla="*/ 104 w 993"/>
              <a:gd name="T107" fmla="*/ 655 h 8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93" h="867">
                <a:moveTo>
                  <a:pt x="967" y="656"/>
                </a:moveTo>
                <a:cubicBezTo>
                  <a:pt x="967" y="656"/>
                  <a:pt x="967" y="655"/>
                  <a:pt x="967" y="655"/>
                </a:cubicBezTo>
                <a:cubicBezTo>
                  <a:pt x="967" y="655"/>
                  <a:pt x="967" y="655"/>
                  <a:pt x="967" y="655"/>
                </a:cubicBezTo>
                <a:cubicBezTo>
                  <a:pt x="984" y="605"/>
                  <a:pt x="993" y="552"/>
                  <a:pt x="993" y="496"/>
                </a:cubicBezTo>
                <a:cubicBezTo>
                  <a:pt x="993" y="222"/>
                  <a:pt x="771" y="0"/>
                  <a:pt x="496" y="0"/>
                </a:cubicBezTo>
                <a:cubicBezTo>
                  <a:pt x="222" y="0"/>
                  <a:pt x="0" y="222"/>
                  <a:pt x="0" y="496"/>
                </a:cubicBezTo>
                <a:cubicBezTo>
                  <a:pt x="0" y="552"/>
                  <a:pt x="9" y="605"/>
                  <a:pt x="26" y="655"/>
                </a:cubicBezTo>
                <a:cubicBezTo>
                  <a:pt x="26" y="655"/>
                  <a:pt x="26" y="655"/>
                  <a:pt x="26" y="655"/>
                </a:cubicBezTo>
                <a:cubicBezTo>
                  <a:pt x="26" y="655"/>
                  <a:pt x="26" y="656"/>
                  <a:pt x="26" y="656"/>
                </a:cubicBezTo>
                <a:cubicBezTo>
                  <a:pt x="27" y="660"/>
                  <a:pt x="29" y="664"/>
                  <a:pt x="31" y="669"/>
                </a:cubicBezTo>
                <a:cubicBezTo>
                  <a:pt x="31" y="669"/>
                  <a:pt x="31" y="669"/>
                  <a:pt x="31" y="669"/>
                </a:cubicBezTo>
                <a:cubicBezTo>
                  <a:pt x="32" y="673"/>
                  <a:pt x="34" y="678"/>
                  <a:pt x="36" y="682"/>
                </a:cubicBezTo>
                <a:cubicBezTo>
                  <a:pt x="48" y="712"/>
                  <a:pt x="63" y="740"/>
                  <a:pt x="80" y="767"/>
                </a:cubicBezTo>
                <a:cubicBezTo>
                  <a:pt x="84" y="772"/>
                  <a:pt x="87" y="778"/>
                  <a:pt x="91" y="783"/>
                </a:cubicBezTo>
                <a:cubicBezTo>
                  <a:pt x="96" y="791"/>
                  <a:pt x="102" y="798"/>
                  <a:pt x="108" y="806"/>
                </a:cubicBezTo>
                <a:cubicBezTo>
                  <a:pt x="114" y="813"/>
                  <a:pt x="120" y="820"/>
                  <a:pt x="126" y="828"/>
                </a:cubicBezTo>
                <a:cubicBezTo>
                  <a:pt x="129" y="830"/>
                  <a:pt x="131" y="832"/>
                  <a:pt x="133" y="835"/>
                </a:cubicBezTo>
                <a:cubicBezTo>
                  <a:pt x="133" y="835"/>
                  <a:pt x="133" y="835"/>
                  <a:pt x="133" y="835"/>
                </a:cubicBezTo>
                <a:cubicBezTo>
                  <a:pt x="137" y="839"/>
                  <a:pt x="142" y="844"/>
                  <a:pt x="146" y="848"/>
                </a:cubicBezTo>
                <a:cubicBezTo>
                  <a:pt x="148" y="850"/>
                  <a:pt x="151" y="853"/>
                  <a:pt x="153" y="855"/>
                </a:cubicBezTo>
                <a:cubicBezTo>
                  <a:pt x="155" y="857"/>
                  <a:pt x="156" y="858"/>
                  <a:pt x="158" y="860"/>
                </a:cubicBezTo>
                <a:cubicBezTo>
                  <a:pt x="159" y="860"/>
                  <a:pt x="159" y="861"/>
                  <a:pt x="160" y="861"/>
                </a:cubicBezTo>
                <a:cubicBezTo>
                  <a:pt x="162" y="863"/>
                  <a:pt x="164" y="865"/>
                  <a:pt x="166" y="867"/>
                </a:cubicBezTo>
                <a:cubicBezTo>
                  <a:pt x="827" y="867"/>
                  <a:pt x="827" y="867"/>
                  <a:pt x="827" y="867"/>
                </a:cubicBezTo>
                <a:cubicBezTo>
                  <a:pt x="831" y="863"/>
                  <a:pt x="836" y="859"/>
                  <a:pt x="840" y="855"/>
                </a:cubicBezTo>
                <a:cubicBezTo>
                  <a:pt x="842" y="853"/>
                  <a:pt x="844" y="851"/>
                  <a:pt x="846" y="849"/>
                </a:cubicBezTo>
                <a:cubicBezTo>
                  <a:pt x="851" y="844"/>
                  <a:pt x="856" y="839"/>
                  <a:pt x="860" y="834"/>
                </a:cubicBezTo>
                <a:cubicBezTo>
                  <a:pt x="862" y="832"/>
                  <a:pt x="864" y="830"/>
                  <a:pt x="866" y="828"/>
                </a:cubicBezTo>
                <a:cubicBezTo>
                  <a:pt x="868" y="825"/>
                  <a:pt x="871" y="823"/>
                  <a:pt x="873" y="820"/>
                </a:cubicBezTo>
                <a:cubicBezTo>
                  <a:pt x="874" y="818"/>
                  <a:pt x="876" y="816"/>
                  <a:pt x="878" y="814"/>
                </a:cubicBezTo>
                <a:cubicBezTo>
                  <a:pt x="879" y="813"/>
                  <a:pt x="880" y="812"/>
                  <a:pt x="881" y="811"/>
                </a:cubicBezTo>
                <a:cubicBezTo>
                  <a:pt x="882" y="809"/>
                  <a:pt x="883" y="807"/>
                  <a:pt x="885" y="806"/>
                </a:cubicBezTo>
                <a:cubicBezTo>
                  <a:pt x="889" y="801"/>
                  <a:pt x="893" y="796"/>
                  <a:pt x="897" y="790"/>
                </a:cubicBezTo>
                <a:cubicBezTo>
                  <a:pt x="898" y="788"/>
                  <a:pt x="900" y="786"/>
                  <a:pt x="901" y="784"/>
                </a:cubicBezTo>
                <a:cubicBezTo>
                  <a:pt x="902" y="783"/>
                  <a:pt x="902" y="783"/>
                  <a:pt x="902" y="783"/>
                </a:cubicBezTo>
                <a:cubicBezTo>
                  <a:pt x="904" y="780"/>
                  <a:pt x="906" y="778"/>
                  <a:pt x="907" y="775"/>
                </a:cubicBezTo>
                <a:cubicBezTo>
                  <a:pt x="909" y="772"/>
                  <a:pt x="911" y="770"/>
                  <a:pt x="913" y="767"/>
                </a:cubicBezTo>
                <a:cubicBezTo>
                  <a:pt x="916" y="762"/>
                  <a:pt x="920" y="756"/>
                  <a:pt x="923" y="751"/>
                </a:cubicBezTo>
                <a:cubicBezTo>
                  <a:pt x="924" y="748"/>
                  <a:pt x="926" y="745"/>
                  <a:pt x="928" y="743"/>
                </a:cubicBezTo>
                <a:cubicBezTo>
                  <a:pt x="929" y="740"/>
                  <a:pt x="931" y="737"/>
                  <a:pt x="932" y="735"/>
                </a:cubicBezTo>
                <a:cubicBezTo>
                  <a:pt x="937" y="726"/>
                  <a:pt x="941" y="717"/>
                  <a:pt x="946" y="708"/>
                </a:cubicBezTo>
                <a:cubicBezTo>
                  <a:pt x="947" y="706"/>
                  <a:pt x="948" y="703"/>
                  <a:pt x="949" y="701"/>
                </a:cubicBezTo>
                <a:cubicBezTo>
                  <a:pt x="949" y="700"/>
                  <a:pt x="949" y="700"/>
                  <a:pt x="950" y="700"/>
                </a:cubicBezTo>
                <a:cubicBezTo>
                  <a:pt x="951" y="697"/>
                  <a:pt x="952" y="694"/>
                  <a:pt x="953" y="691"/>
                </a:cubicBezTo>
                <a:cubicBezTo>
                  <a:pt x="955" y="688"/>
                  <a:pt x="956" y="685"/>
                  <a:pt x="957" y="682"/>
                </a:cubicBezTo>
                <a:cubicBezTo>
                  <a:pt x="959" y="678"/>
                  <a:pt x="961" y="673"/>
                  <a:pt x="962" y="669"/>
                </a:cubicBezTo>
                <a:cubicBezTo>
                  <a:pt x="962" y="669"/>
                  <a:pt x="962" y="669"/>
                  <a:pt x="962" y="669"/>
                </a:cubicBezTo>
                <a:cubicBezTo>
                  <a:pt x="964" y="664"/>
                  <a:pt x="965" y="660"/>
                  <a:pt x="967" y="656"/>
                </a:cubicBezTo>
                <a:close/>
                <a:moveTo>
                  <a:pt x="104" y="655"/>
                </a:moveTo>
                <a:cubicBezTo>
                  <a:pt x="84" y="606"/>
                  <a:pt x="73" y="552"/>
                  <a:pt x="73" y="496"/>
                </a:cubicBezTo>
                <a:cubicBezTo>
                  <a:pt x="73" y="262"/>
                  <a:pt x="263" y="73"/>
                  <a:pt x="496" y="73"/>
                </a:cubicBezTo>
                <a:cubicBezTo>
                  <a:pt x="730" y="73"/>
                  <a:pt x="920" y="262"/>
                  <a:pt x="920" y="496"/>
                </a:cubicBezTo>
                <a:cubicBezTo>
                  <a:pt x="920" y="552"/>
                  <a:pt x="909" y="606"/>
                  <a:pt x="889" y="655"/>
                </a:cubicBezTo>
                <a:lnTo>
                  <a:pt x="104" y="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5" name="Freeform 24"/>
          <p:cNvSpPr/>
          <p:nvPr/>
        </p:nvSpPr>
        <p:spPr bwMode="auto">
          <a:xfrm>
            <a:off x="828748" y="3869797"/>
            <a:ext cx="85482" cy="164784"/>
          </a:xfrm>
          <a:custGeom>
            <a:avLst/>
            <a:gdLst>
              <a:gd name="T0" fmla="*/ 0 w 44"/>
              <a:gd name="T1" fmla="*/ 0 h 85"/>
              <a:gd name="T2" fmla="*/ 44 w 44"/>
              <a:gd name="T3" fmla="*/ 85 h 85"/>
              <a:gd name="T4" fmla="*/ 0 w 44"/>
              <a:gd name="T5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4" h="85">
                <a:moveTo>
                  <a:pt x="0" y="0"/>
                </a:moveTo>
                <a:cubicBezTo>
                  <a:pt x="12" y="30"/>
                  <a:pt x="27" y="58"/>
                  <a:pt x="44" y="85"/>
                </a:cubicBezTo>
                <a:cubicBezTo>
                  <a:pt x="27" y="58"/>
                  <a:pt x="12" y="30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6" name="Freeform 25"/>
          <p:cNvSpPr/>
          <p:nvPr/>
        </p:nvSpPr>
        <p:spPr bwMode="auto">
          <a:xfrm>
            <a:off x="914230" y="4034581"/>
            <a:ext cx="20598" cy="30897"/>
          </a:xfrm>
          <a:custGeom>
            <a:avLst/>
            <a:gdLst>
              <a:gd name="T0" fmla="*/ 0 w 11"/>
              <a:gd name="T1" fmla="*/ 0 h 16"/>
              <a:gd name="T2" fmla="*/ 11 w 11"/>
              <a:gd name="T3" fmla="*/ 16 h 16"/>
              <a:gd name="T4" fmla="*/ 0 w 11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" h="16">
                <a:moveTo>
                  <a:pt x="0" y="0"/>
                </a:moveTo>
                <a:cubicBezTo>
                  <a:pt x="4" y="5"/>
                  <a:pt x="7" y="11"/>
                  <a:pt x="11" y="16"/>
                </a:cubicBezTo>
                <a:cubicBezTo>
                  <a:pt x="7" y="11"/>
                  <a:pt x="4" y="5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7" name="Freeform 26"/>
          <p:cNvSpPr/>
          <p:nvPr/>
        </p:nvSpPr>
        <p:spPr bwMode="auto">
          <a:xfrm>
            <a:off x="934828" y="4065478"/>
            <a:ext cx="32957" cy="44286"/>
          </a:xfrm>
          <a:custGeom>
            <a:avLst/>
            <a:gdLst>
              <a:gd name="T0" fmla="*/ 0 w 17"/>
              <a:gd name="T1" fmla="*/ 0 h 23"/>
              <a:gd name="T2" fmla="*/ 17 w 17"/>
              <a:gd name="T3" fmla="*/ 23 h 23"/>
              <a:gd name="T4" fmla="*/ 0 w 17"/>
              <a:gd name="T5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23">
                <a:moveTo>
                  <a:pt x="0" y="0"/>
                </a:moveTo>
                <a:cubicBezTo>
                  <a:pt x="5" y="8"/>
                  <a:pt x="11" y="15"/>
                  <a:pt x="17" y="23"/>
                </a:cubicBezTo>
                <a:cubicBezTo>
                  <a:pt x="11" y="15"/>
                  <a:pt x="5" y="8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298" name="Freeform 27"/>
          <p:cNvSpPr/>
          <p:nvPr/>
        </p:nvSpPr>
        <p:spPr bwMode="auto">
          <a:xfrm>
            <a:off x="967785" y="4109764"/>
            <a:ext cx="35017" cy="43256"/>
          </a:xfrm>
          <a:custGeom>
            <a:avLst/>
            <a:gdLst>
              <a:gd name="T0" fmla="*/ 0 w 18"/>
              <a:gd name="T1" fmla="*/ 0 h 22"/>
              <a:gd name="T2" fmla="*/ 18 w 18"/>
              <a:gd name="T3" fmla="*/ 22 h 22"/>
              <a:gd name="T4" fmla="*/ 0 w 18"/>
              <a:gd name="T5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" h="22">
                <a:moveTo>
                  <a:pt x="0" y="0"/>
                </a:moveTo>
                <a:cubicBezTo>
                  <a:pt x="6" y="7"/>
                  <a:pt x="12" y="14"/>
                  <a:pt x="18" y="22"/>
                </a:cubicBezTo>
                <a:cubicBezTo>
                  <a:pt x="12" y="14"/>
                  <a:pt x="6" y="7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0" name="Oval 31"/>
          <p:cNvSpPr>
            <a:spLocks noChangeArrowheads="1"/>
          </p:cNvSpPr>
          <p:nvPr/>
        </p:nvSpPr>
        <p:spPr bwMode="auto">
          <a:xfrm>
            <a:off x="1599114" y="3470196"/>
            <a:ext cx="246147" cy="246146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3813" cap="flat">
            <a:solidFill>
              <a:srgbClr val="FFFFFF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1" name="Freeform 32"/>
          <p:cNvSpPr/>
          <p:nvPr/>
        </p:nvSpPr>
        <p:spPr bwMode="auto">
          <a:xfrm>
            <a:off x="1470377" y="2741026"/>
            <a:ext cx="236877" cy="133887"/>
          </a:xfrm>
          <a:custGeom>
            <a:avLst/>
            <a:gdLst>
              <a:gd name="T0" fmla="*/ 18 w 122"/>
              <a:gd name="T1" fmla="*/ 69 h 69"/>
              <a:gd name="T2" fmla="*/ 122 w 122"/>
              <a:gd name="T3" fmla="*/ 50 h 69"/>
              <a:gd name="T4" fmla="*/ 122 w 122"/>
              <a:gd name="T5" fmla="*/ 0 h 69"/>
              <a:gd name="T6" fmla="*/ 0 w 122"/>
              <a:gd name="T7" fmla="*/ 21 h 69"/>
              <a:gd name="T8" fmla="*/ 18 w 122"/>
              <a:gd name="T9" fmla="*/ 6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18" y="69"/>
                </a:moveTo>
                <a:cubicBezTo>
                  <a:pt x="50" y="57"/>
                  <a:pt x="85" y="51"/>
                  <a:pt x="122" y="50"/>
                </a:cubicBezTo>
                <a:cubicBezTo>
                  <a:pt x="122" y="0"/>
                  <a:pt x="122" y="0"/>
                  <a:pt x="122" y="0"/>
                </a:cubicBezTo>
                <a:cubicBezTo>
                  <a:pt x="80" y="1"/>
                  <a:pt x="39" y="8"/>
                  <a:pt x="0" y="21"/>
                </a:cubicBezTo>
                <a:lnTo>
                  <a:pt x="18" y="6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2" name="Freeform 33"/>
          <p:cNvSpPr/>
          <p:nvPr/>
        </p:nvSpPr>
        <p:spPr bwMode="auto">
          <a:xfrm>
            <a:off x="1737121" y="2741026"/>
            <a:ext cx="235848" cy="133887"/>
          </a:xfrm>
          <a:custGeom>
            <a:avLst/>
            <a:gdLst>
              <a:gd name="T0" fmla="*/ 0 w 122"/>
              <a:gd name="T1" fmla="*/ 0 h 69"/>
              <a:gd name="T2" fmla="*/ 0 w 122"/>
              <a:gd name="T3" fmla="*/ 50 h 69"/>
              <a:gd name="T4" fmla="*/ 104 w 122"/>
              <a:gd name="T5" fmla="*/ 69 h 69"/>
              <a:gd name="T6" fmla="*/ 122 w 122"/>
              <a:gd name="T7" fmla="*/ 21 h 69"/>
              <a:gd name="T8" fmla="*/ 0 w 122"/>
              <a:gd name="T9" fmla="*/ 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0" y="0"/>
                </a:moveTo>
                <a:cubicBezTo>
                  <a:pt x="0" y="50"/>
                  <a:pt x="0" y="50"/>
                  <a:pt x="0" y="50"/>
                </a:cubicBezTo>
                <a:cubicBezTo>
                  <a:pt x="36" y="51"/>
                  <a:pt x="71" y="57"/>
                  <a:pt x="104" y="69"/>
                </a:cubicBezTo>
                <a:cubicBezTo>
                  <a:pt x="122" y="21"/>
                  <a:pt x="122" y="21"/>
                  <a:pt x="122" y="21"/>
                </a:cubicBezTo>
                <a:cubicBezTo>
                  <a:pt x="82" y="8"/>
                  <a:pt x="42" y="1"/>
                  <a:pt x="0" y="0"/>
                </a:cubicBez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3" name="Freeform 34"/>
          <p:cNvSpPr/>
          <p:nvPr/>
        </p:nvSpPr>
        <p:spPr bwMode="auto">
          <a:xfrm>
            <a:off x="1967819" y="2791492"/>
            <a:ext cx="239967" cy="195681"/>
          </a:xfrm>
          <a:custGeom>
            <a:avLst/>
            <a:gdLst>
              <a:gd name="T0" fmla="*/ 0 w 124"/>
              <a:gd name="T1" fmla="*/ 48 h 101"/>
              <a:gd name="T2" fmla="*/ 91 w 124"/>
              <a:gd name="T3" fmla="*/ 101 h 101"/>
              <a:gd name="T4" fmla="*/ 124 w 124"/>
              <a:gd name="T5" fmla="*/ 62 h 101"/>
              <a:gd name="T6" fmla="*/ 28 w 124"/>
              <a:gd name="T7" fmla="*/ 5 h 101"/>
              <a:gd name="T8" fmla="*/ 17 w 124"/>
              <a:gd name="T9" fmla="*/ 0 h 101"/>
              <a:gd name="T10" fmla="*/ 0 w 124"/>
              <a:gd name="T11" fmla="*/ 48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0" y="48"/>
                </a:moveTo>
                <a:cubicBezTo>
                  <a:pt x="33" y="61"/>
                  <a:pt x="64" y="79"/>
                  <a:pt x="91" y="101"/>
                </a:cubicBezTo>
                <a:cubicBezTo>
                  <a:pt x="124" y="62"/>
                  <a:pt x="124" y="62"/>
                  <a:pt x="124" y="62"/>
                </a:cubicBezTo>
                <a:cubicBezTo>
                  <a:pt x="95" y="39"/>
                  <a:pt x="63" y="20"/>
                  <a:pt x="28" y="5"/>
                </a:cubicBezTo>
                <a:cubicBezTo>
                  <a:pt x="25" y="3"/>
                  <a:pt x="21" y="2"/>
                  <a:pt x="17" y="0"/>
                </a:cubicBezTo>
                <a:lnTo>
                  <a:pt x="0" y="48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4" name="Freeform 35"/>
          <p:cNvSpPr/>
          <p:nvPr/>
        </p:nvSpPr>
        <p:spPr bwMode="auto">
          <a:xfrm>
            <a:off x="2167619" y="2931558"/>
            <a:ext cx="217309" cy="232757"/>
          </a:xfrm>
          <a:custGeom>
            <a:avLst/>
            <a:gdLst>
              <a:gd name="T0" fmla="*/ 0 w 112"/>
              <a:gd name="T1" fmla="*/ 39 h 120"/>
              <a:gd name="T2" fmla="*/ 68 w 112"/>
              <a:gd name="T3" fmla="*/ 120 h 120"/>
              <a:gd name="T4" fmla="*/ 112 w 112"/>
              <a:gd name="T5" fmla="*/ 94 h 120"/>
              <a:gd name="T6" fmla="*/ 52 w 112"/>
              <a:gd name="T7" fmla="*/ 18 h 120"/>
              <a:gd name="T8" fmla="*/ 32 w 112"/>
              <a:gd name="T9" fmla="*/ 0 h 120"/>
              <a:gd name="T10" fmla="*/ 0 w 112"/>
              <a:gd name="T11" fmla="*/ 39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0" y="39"/>
                </a:moveTo>
                <a:cubicBezTo>
                  <a:pt x="26" y="62"/>
                  <a:pt x="49" y="89"/>
                  <a:pt x="68" y="120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95" y="67"/>
                  <a:pt x="75" y="41"/>
                  <a:pt x="52" y="18"/>
                </a:cubicBezTo>
                <a:cubicBezTo>
                  <a:pt x="46" y="12"/>
                  <a:pt x="39" y="6"/>
                  <a:pt x="32" y="0"/>
                </a:cubicBezTo>
                <a:lnTo>
                  <a:pt x="0" y="3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5" name="Freeform 36"/>
          <p:cNvSpPr/>
          <p:nvPr/>
        </p:nvSpPr>
        <p:spPr bwMode="auto">
          <a:xfrm>
            <a:off x="2389049" y="3392953"/>
            <a:ext cx="106080" cy="239967"/>
          </a:xfrm>
          <a:custGeom>
            <a:avLst/>
            <a:gdLst>
              <a:gd name="T0" fmla="*/ 50 w 55"/>
              <a:gd name="T1" fmla="*/ 124 h 124"/>
              <a:gd name="T2" fmla="*/ 55 w 55"/>
              <a:gd name="T3" fmla="*/ 62 h 124"/>
              <a:gd name="T4" fmla="*/ 50 w 55"/>
              <a:gd name="T5" fmla="*/ 0 h 124"/>
              <a:gd name="T6" fmla="*/ 0 w 55"/>
              <a:gd name="T7" fmla="*/ 9 h 124"/>
              <a:gd name="T8" fmla="*/ 4 w 55"/>
              <a:gd name="T9" fmla="*/ 62 h 124"/>
              <a:gd name="T10" fmla="*/ 0 w 55"/>
              <a:gd name="T11" fmla="*/ 115 h 124"/>
              <a:gd name="T12" fmla="*/ 50 w 55"/>
              <a:gd name="T13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" h="124">
                <a:moveTo>
                  <a:pt x="50" y="124"/>
                </a:moveTo>
                <a:cubicBezTo>
                  <a:pt x="53" y="104"/>
                  <a:pt x="55" y="83"/>
                  <a:pt x="55" y="62"/>
                </a:cubicBezTo>
                <a:cubicBezTo>
                  <a:pt x="55" y="41"/>
                  <a:pt x="53" y="21"/>
                  <a:pt x="50" y="0"/>
                </a:cubicBezTo>
                <a:cubicBezTo>
                  <a:pt x="0" y="9"/>
                  <a:pt x="0" y="9"/>
                  <a:pt x="0" y="9"/>
                </a:cubicBezTo>
                <a:cubicBezTo>
                  <a:pt x="3" y="26"/>
                  <a:pt x="4" y="44"/>
                  <a:pt x="4" y="62"/>
                </a:cubicBezTo>
                <a:cubicBezTo>
                  <a:pt x="4" y="80"/>
                  <a:pt x="3" y="98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6" name="Freeform 37"/>
          <p:cNvSpPr/>
          <p:nvPr/>
        </p:nvSpPr>
        <p:spPr bwMode="auto">
          <a:xfrm>
            <a:off x="2312836" y="3140627"/>
            <a:ext cx="166844" cy="240997"/>
          </a:xfrm>
          <a:custGeom>
            <a:avLst/>
            <a:gdLst>
              <a:gd name="T0" fmla="*/ 0 w 86"/>
              <a:gd name="T1" fmla="*/ 25 h 124"/>
              <a:gd name="T2" fmla="*/ 37 w 86"/>
              <a:gd name="T3" fmla="*/ 124 h 124"/>
              <a:gd name="T4" fmla="*/ 86 w 86"/>
              <a:gd name="T5" fmla="*/ 115 h 124"/>
              <a:gd name="T6" fmla="*/ 62 w 86"/>
              <a:gd name="T7" fmla="*/ 37 h 124"/>
              <a:gd name="T8" fmla="*/ 44 w 86"/>
              <a:gd name="T9" fmla="*/ 0 h 124"/>
              <a:gd name="T10" fmla="*/ 0 w 86"/>
              <a:gd name="T11" fmla="*/ 2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0" y="25"/>
                </a:moveTo>
                <a:cubicBezTo>
                  <a:pt x="17" y="55"/>
                  <a:pt x="30" y="89"/>
                  <a:pt x="37" y="124"/>
                </a:cubicBezTo>
                <a:cubicBezTo>
                  <a:pt x="86" y="115"/>
                  <a:pt x="86" y="115"/>
                  <a:pt x="86" y="115"/>
                </a:cubicBezTo>
                <a:cubicBezTo>
                  <a:pt x="81" y="89"/>
                  <a:pt x="73" y="62"/>
                  <a:pt x="62" y="37"/>
                </a:cubicBezTo>
                <a:cubicBezTo>
                  <a:pt x="57" y="24"/>
                  <a:pt x="51" y="12"/>
                  <a:pt x="44" y="0"/>
                </a:cubicBezTo>
                <a:lnTo>
                  <a:pt x="0" y="25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7" name="Freeform 38"/>
          <p:cNvSpPr/>
          <p:nvPr/>
        </p:nvSpPr>
        <p:spPr bwMode="auto">
          <a:xfrm>
            <a:off x="1235559" y="2791492"/>
            <a:ext cx="240997" cy="195681"/>
          </a:xfrm>
          <a:custGeom>
            <a:avLst/>
            <a:gdLst>
              <a:gd name="T0" fmla="*/ 33 w 124"/>
              <a:gd name="T1" fmla="*/ 101 h 101"/>
              <a:gd name="T2" fmla="*/ 124 w 124"/>
              <a:gd name="T3" fmla="*/ 48 h 101"/>
              <a:gd name="T4" fmla="*/ 107 w 124"/>
              <a:gd name="T5" fmla="*/ 0 h 101"/>
              <a:gd name="T6" fmla="*/ 95 w 124"/>
              <a:gd name="T7" fmla="*/ 5 h 101"/>
              <a:gd name="T8" fmla="*/ 0 w 124"/>
              <a:gd name="T9" fmla="*/ 62 h 101"/>
              <a:gd name="T10" fmla="*/ 33 w 124"/>
              <a:gd name="T11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33" y="101"/>
                </a:moveTo>
                <a:cubicBezTo>
                  <a:pt x="60" y="79"/>
                  <a:pt x="91" y="61"/>
                  <a:pt x="124" y="48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2"/>
                  <a:pt x="99" y="3"/>
                  <a:pt x="95" y="5"/>
                </a:cubicBezTo>
                <a:cubicBezTo>
                  <a:pt x="61" y="20"/>
                  <a:pt x="29" y="39"/>
                  <a:pt x="0" y="62"/>
                </a:cubicBezTo>
                <a:lnTo>
                  <a:pt x="33" y="101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8" name="Freeform 39"/>
          <p:cNvSpPr/>
          <p:nvPr/>
        </p:nvSpPr>
        <p:spPr bwMode="auto">
          <a:xfrm>
            <a:off x="962635" y="3140627"/>
            <a:ext cx="166844" cy="240997"/>
          </a:xfrm>
          <a:custGeom>
            <a:avLst/>
            <a:gdLst>
              <a:gd name="T0" fmla="*/ 50 w 86"/>
              <a:gd name="T1" fmla="*/ 124 h 124"/>
              <a:gd name="T2" fmla="*/ 86 w 86"/>
              <a:gd name="T3" fmla="*/ 25 h 124"/>
              <a:gd name="T4" fmla="*/ 43 w 86"/>
              <a:gd name="T5" fmla="*/ 0 h 124"/>
              <a:gd name="T6" fmla="*/ 24 w 86"/>
              <a:gd name="T7" fmla="*/ 37 h 124"/>
              <a:gd name="T8" fmla="*/ 0 w 86"/>
              <a:gd name="T9" fmla="*/ 115 h 124"/>
              <a:gd name="T10" fmla="*/ 50 w 86"/>
              <a:gd name="T11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50" y="124"/>
                </a:moveTo>
                <a:cubicBezTo>
                  <a:pt x="57" y="89"/>
                  <a:pt x="70" y="55"/>
                  <a:pt x="86" y="25"/>
                </a:cubicBezTo>
                <a:cubicBezTo>
                  <a:pt x="43" y="0"/>
                  <a:pt x="43" y="0"/>
                  <a:pt x="43" y="0"/>
                </a:cubicBezTo>
                <a:cubicBezTo>
                  <a:pt x="36" y="12"/>
                  <a:pt x="30" y="24"/>
                  <a:pt x="24" y="37"/>
                </a:cubicBezTo>
                <a:cubicBezTo>
                  <a:pt x="14" y="62"/>
                  <a:pt x="6" y="89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09" name="Freeform 40"/>
          <p:cNvSpPr/>
          <p:nvPr/>
        </p:nvSpPr>
        <p:spPr bwMode="auto">
          <a:xfrm>
            <a:off x="949247" y="3392953"/>
            <a:ext cx="104020" cy="239967"/>
          </a:xfrm>
          <a:custGeom>
            <a:avLst/>
            <a:gdLst>
              <a:gd name="T0" fmla="*/ 54 w 54"/>
              <a:gd name="T1" fmla="*/ 115 h 124"/>
              <a:gd name="T2" fmla="*/ 50 w 54"/>
              <a:gd name="T3" fmla="*/ 62 h 124"/>
              <a:gd name="T4" fmla="*/ 54 w 54"/>
              <a:gd name="T5" fmla="*/ 9 h 124"/>
              <a:gd name="T6" fmla="*/ 5 w 54"/>
              <a:gd name="T7" fmla="*/ 0 h 124"/>
              <a:gd name="T8" fmla="*/ 0 w 54"/>
              <a:gd name="T9" fmla="*/ 62 h 124"/>
              <a:gd name="T10" fmla="*/ 5 w 54"/>
              <a:gd name="T11" fmla="*/ 124 h 124"/>
              <a:gd name="T12" fmla="*/ 54 w 54"/>
              <a:gd name="T13" fmla="*/ 11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124">
                <a:moveTo>
                  <a:pt x="54" y="115"/>
                </a:moveTo>
                <a:cubicBezTo>
                  <a:pt x="52" y="98"/>
                  <a:pt x="50" y="80"/>
                  <a:pt x="50" y="62"/>
                </a:cubicBezTo>
                <a:cubicBezTo>
                  <a:pt x="50" y="44"/>
                  <a:pt x="52" y="26"/>
                  <a:pt x="54" y="9"/>
                </a:cubicBezTo>
                <a:cubicBezTo>
                  <a:pt x="5" y="0"/>
                  <a:pt x="5" y="0"/>
                  <a:pt x="5" y="0"/>
                </a:cubicBezTo>
                <a:cubicBezTo>
                  <a:pt x="2" y="21"/>
                  <a:pt x="0" y="41"/>
                  <a:pt x="0" y="62"/>
                </a:cubicBezTo>
                <a:cubicBezTo>
                  <a:pt x="0" y="83"/>
                  <a:pt x="2" y="104"/>
                  <a:pt x="5" y="124"/>
                </a:cubicBezTo>
                <a:lnTo>
                  <a:pt x="54" y="115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10" name="Freeform 41"/>
          <p:cNvSpPr/>
          <p:nvPr/>
        </p:nvSpPr>
        <p:spPr bwMode="auto">
          <a:xfrm>
            <a:off x="1059446" y="2931558"/>
            <a:ext cx="217309" cy="232757"/>
          </a:xfrm>
          <a:custGeom>
            <a:avLst/>
            <a:gdLst>
              <a:gd name="T0" fmla="*/ 44 w 112"/>
              <a:gd name="T1" fmla="*/ 120 h 120"/>
              <a:gd name="T2" fmla="*/ 112 w 112"/>
              <a:gd name="T3" fmla="*/ 39 h 120"/>
              <a:gd name="T4" fmla="*/ 80 w 112"/>
              <a:gd name="T5" fmla="*/ 0 h 120"/>
              <a:gd name="T6" fmla="*/ 60 w 112"/>
              <a:gd name="T7" fmla="*/ 18 h 120"/>
              <a:gd name="T8" fmla="*/ 0 w 112"/>
              <a:gd name="T9" fmla="*/ 94 h 120"/>
              <a:gd name="T10" fmla="*/ 44 w 112"/>
              <a:gd name="T11" fmla="*/ 1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44" y="120"/>
                </a:moveTo>
                <a:cubicBezTo>
                  <a:pt x="62" y="89"/>
                  <a:pt x="85" y="62"/>
                  <a:pt x="112" y="39"/>
                </a:cubicBezTo>
                <a:cubicBezTo>
                  <a:pt x="80" y="0"/>
                  <a:pt x="80" y="0"/>
                  <a:pt x="80" y="0"/>
                </a:cubicBezTo>
                <a:cubicBezTo>
                  <a:pt x="73" y="6"/>
                  <a:pt x="66" y="12"/>
                  <a:pt x="60" y="18"/>
                </a:cubicBezTo>
                <a:cubicBezTo>
                  <a:pt x="37" y="41"/>
                  <a:pt x="17" y="67"/>
                  <a:pt x="0" y="94"/>
                </a:cubicBezTo>
                <a:lnTo>
                  <a:pt x="44" y="120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11" name="TextBox 310"/>
          <p:cNvSpPr txBox="1"/>
          <p:nvPr/>
        </p:nvSpPr>
        <p:spPr>
          <a:xfrm>
            <a:off x="1129709" y="3860533"/>
            <a:ext cx="1229407" cy="276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en-IN" sz="1800" b="1" dirty="0">
                <a:solidFill>
                  <a:schemeClr val="bg1"/>
                </a:solidFill>
                <a:cs typeface="Arial" panose="020B0604020202020204" pitchFamily="34" charset="0"/>
              </a:rPr>
              <a:t>Country</a:t>
            </a:r>
            <a:endParaRPr lang="en-US" altLang="en-IN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314" name="Group 313"/>
          <p:cNvGrpSpPr/>
          <p:nvPr/>
        </p:nvGrpSpPr>
        <p:grpSpPr>
          <a:xfrm>
            <a:off x="758715" y="4694992"/>
            <a:ext cx="1926945" cy="1680797"/>
            <a:chOff x="633294" y="399818"/>
            <a:chExt cx="1926945" cy="1680797"/>
          </a:xfrm>
        </p:grpSpPr>
        <p:sp>
          <p:nvSpPr>
            <p:cNvPr id="315" name="Freeform 29"/>
            <p:cNvSpPr/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6" name="Freeform 23"/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7" name="Freeform 24"/>
            <p:cNvSpPr/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8" name="Freeform 25"/>
            <p:cNvSpPr/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9" name="Freeform 26"/>
            <p:cNvSpPr/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0" name="Freeform 27"/>
            <p:cNvSpPr/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2" name="Oval 31"/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3" name="Freeform 32"/>
            <p:cNvSpPr/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4" name="Freeform 33"/>
            <p:cNvSpPr/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5" name="Freeform 34"/>
            <p:cNvSpPr/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6" name="Freeform 35"/>
            <p:cNvSpPr/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7" name="Freeform 36"/>
            <p:cNvSpPr/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8" name="Freeform 37"/>
            <p:cNvSpPr/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9" name="Freeform 38"/>
            <p:cNvSpPr/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30" name="Freeform 39"/>
            <p:cNvSpPr/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31" name="Freeform 40"/>
            <p:cNvSpPr/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32" name="Freeform 41"/>
            <p:cNvSpPr/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34" name="TextBox 333"/>
            <p:cNvSpPr txBox="1"/>
            <p:nvPr/>
          </p:nvSpPr>
          <p:spPr>
            <a:xfrm>
              <a:off x="809407" y="1503212"/>
              <a:ext cx="243232" cy="1384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IN" sz="900" b="1" dirty="0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46" name="Title 7"/>
          <p:cNvSpPr txBox="1"/>
          <p:nvPr/>
        </p:nvSpPr>
        <p:spPr>
          <a:xfrm>
            <a:off x="291465" y="0"/>
            <a:ext cx="2957195" cy="504190"/>
          </a:xfrm>
          <a:prstGeom prst="rect">
            <a:avLst/>
          </a:prstGeom>
        </p:spPr>
        <p:txBody>
          <a:bodyPr/>
          <a:lstStyle>
            <a:lvl1pPr algn="l" defTabSz="1219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Calibri" panose="020F0502020204030204" charset="0"/>
                <a:cs typeface="Calibri" panose="020F0502020204030204" charset="0"/>
              </a:rPr>
              <a:t>Control / Dashboard</a:t>
            </a:r>
            <a:endParaRPr lang="en-US" dirty="0"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3" name="Content Placeholder 2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3352800" y="50800"/>
            <a:ext cx="8754110" cy="6645275"/>
          </a:xfrm>
          <a:prstGeom prst="rect">
            <a:avLst/>
          </a:prstGeom>
        </p:spPr>
      </p:pic>
      <p:sp>
        <p:nvSpPr>
          <p:cNvPr id="5" name="TextBox 310"/>
          <p:cNvSpPr txBox="1"/>
          <p:nvPr/>
        </p:nvSpPr>
        <p:spPr>
          <a:xfrm>
            <a:off x="1155744" y="6023343"/>
            <a:ext cx="1229407" cy="2768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ctr"/>
            <a:r>
              <a:rPr lang="en-US" altLang="en-IN" sz="1800" b="1" dirty="0">
                <a:solidFill>
                  <a:schemeClr val="bg1"/>
                </a:solidFill>
                <a:cs typeface="Arial" panose="020B0604020202020204" pitchFamily="34" charset="0"/>
              </a:rPr>
              <a:t>District</a:t>
            </a:r>
            <a:endParaRPr lang="en-US" altLang="en-IN" sz="1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6" name="TextBox 310"/>
          <p:cNvSpPr txBox="1"/>
          <p:nvPr/>
        </p:nvSpPr>
        <p:spPr>
          <a:xfrm>
            <a:off x="1083354" y="1055738"/>
            <a:ext cx="1229407" cy="553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en-IN" sz="1800" b="1" dirty="0">
                <a:solidFill>
                  <a:schemeClr val="tx1"/>
                </a:solidFill>
                <a:cs typeface="Arial" panose="020B0604020202020204" pitchFamily="34" charset="0"/>
              </a:rPr>
              <a:t>Certificate</a:t>
            </a:r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TextBox 310"/>
          <p:cNvSpPr txBox="1"/>
          <p:nvPr/>
        </p:nvSpPr>
        <p:spPr>
          <a:xfrm>
            <a:off x="1083354" y="3203308"/>
            <a:ext cx="1229407" cy="553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ctr"/>
            <a:r>
              <a:rPr lang="en-US" altLang="en-IN" sz="1800" b="1" dirty="0">
                <a:solidFill>
                  <a:schemeClr val="tx1"/>
                </a:solidFill>
                <a:cs typeface="Arial" panose="020B0604020202020204" pitchFamily="34" charset="0"/>
              </a:rPr>
              <a:t>Atlantic</a:t>
            </a:r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TextBox 310"/>
          <p:cNvSpPr txBox="1"/>
          <p:nvPr/>
        </p:nvSpPr>
        <p:spPr>
          <a:xfrm>
            <a:off x="1125899" y="5372468"/>
            <a:ext cx="1229407" cy="553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ctr"/>
            <a:r>
              <a:rPr lang="en-US" altLang="en-IN" sz="1800" b="1" dirty="0">
                <a:solidFill>
                  <a:schemeClr val="tx1"/>
                </a:solidFill>
                <a:cs typeface="Arial" panose="020B0604020202020204" pitchFamily="34" charset="0"/>
              </a:rPr>
              <a:t>All</a:t>
            </a:r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/>
            <a:endParaRPr lang="en-US" altLang="en-IN" sz="18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9">
      <a:dk1>
        <a:sysClr val="windowText" lastClr="000000"/>
      </a:dk1>
      <a:lt1>
        <a:sysClr val="window" lastClr="FFFFFF"/>
      </a:lt1>
      <a:dk2>
        <a:srgbClr val="1F497D"/>
      </a:dk2>
      <a:lt2>
        <a:srgbClr val="3F6EC2"/>
      </a:lt2>
      <a:accent1>
        <a:srgbClr val="6DC6CD"/>
      </a:accent1>
      <a:accent2>
        <a:srgbClr val="52BF8A"/>
      </a:accent2>
      <a:accent3>
        <a:srgbClr val="638CA5"/>
      </a:accent3>
      <a:accent4>
        <a:srgbClr val="E9BB27"/>
      </a:accent4>
      <a:accent5>
        <a:srgbClr val="F46800"/>
      </a:accent5>
      <a:accent6>
        <a:srgbClr val="E45F56"/>
      </a:accent6>
      <a:hlink>
        <a:srgbClr val="0000FF"/>
      </a:hlink>
      <a:folHlink>
        <a:srgbClr val="800080"/>
      </a:folHlink>
    </a:clrScheme>
    <a:fontScheme name="Custom 2">
      <a:majorFont>
        <a:latin typeface="Calibri Light"/>
        <a:ea typeface="Helvetica Light"/>
        <a:cs typeface="Helvetica Light"/>
      </a:majorFont>
      <a:minorFont>
        <a:latin typeface="Calibri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76</Words>
  <Application>WPS Presentation</Application>
  <PresentationFormat>Custom</PresentationFormat>
  <Paragraphs>182</Paragraphs>
  <Slides>11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1</vt:i4>
      </vt:variant>
    </vt:vector>
  </HeadingPairs>
  <TitlesOfParts>
    <vt:vector size="25" baseType="lpstr">
      <vt:lpstr>Arial</vt:lpstr>
      <vt:lpstr>SimSun</vt:lpstr>
      <vt:lpstr>Wingdings</vt:lpstr>
      <vt:lpstr>Gulim</vt:lpstr>
      <vt:lpstr>Calibri</vt:lpstr>
      <vt:lpstr>Microsoft YaHei</vt:lpstr>
      <vt:lpstr>Calibri Light</vt:lpstr>
      <vt:lpstr>-윤고딕150</vt:lpstr>
      <vt:lpstr>Malgun Gothic</vt:lpstr>
      <vt:lpstr>Arial Unicode MS</vt:lpstr>
      <vt:lpstr>Times New Roman</vt:lpstr>
      <vt:lpstr>Office Theme</vt:lpstr>
      <vt:lpstr>TCLayout.ActiveDocument.1</vt:lpstr>
      <vt:lpstr>TCLayout.ActiveDocument.1</vt:lpstr>
      <vt:lpstr>PowerPoint 演示文稿</vt:lpstr>
      <vt:lpstr> Các vấn đề &amp; câu hỏi về bộ dữ liệu khảo sát </vt:lpstr>
      <vt:lpstr>  Thể loại giáo viên /nhân viên ảnh hưởng thế nào đến phân bố lương ?</vt:lpstr>
      <vt:lpstr> LỘ TRÌNH ẢNH HƯỞNG NHƯ THẾ NÀO ĐẾN PHÂN BỐ LƯƠNG ?</vt:lpstr>
      <vt:lpstr>PowerPoint 演示文稿</vt:lpstr>
      <vt:lpstr> ẢNH HƯỞNG CỦA CÔNG VIỆC ĐẾN PHÂN BỐ LƯƠNG CỦA GIÁO VIÊN</vt:lpstr>
      <vt:lpstr>TRÌNH ĐỘ ẢNH HƯỞNG NHƯ THẾ NÀO ĐẾN PHÂN BỐ LƯƠNG ?</vt:lpstr>
      <vt:lpstr>NĂM KINH NGHIỆM ẢNH HƯỞNG NHƯ THẾ NÀO ĐẾN PHÂN BỐ LƯƠNG ?</vt:lpstr>
      <vt:lpstr>PowerPoint 演示文稿</vt:lpstr>
      <vt:lpstr>PowerPoint 演示文稿</vt:lpstr>
      <vt:lpstr>PowerPoint 演示文稿</vt:lpstr>
    </vt:vector>
  </TitlesOfParts>
  <Company>You Exec (https://youexec.com?sr=kpipd)</Company>
  <LinksUpToDate>false</LinksUpToDate>
  <SharedDoc>false</SharedDoc>
  <HyperlinksChanged>false</HyperlinksChanged>
  <AppVersion>14.0000</AppVersion>
  <Manager>You Exec (https://youexec.com?sr=kpipd)</Manager>
  <HyperlinkBase>https://youexec.com?sr=kpipd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?sr=kpipd)</dc:title>
  <dc:creator>You Exec (https://youexec.com?sr=kpipd)</dc:creator>
  <cp:keywords>You Exec (https://youexec.com?sr=kpipd)</cp:keywords>
  <dc:description>You Exec (https://youexec.com?sr=kpipd)</dc:description>
  <dc:subject>You Exec (https://youexec.com?sr=kpipd)</dc:subject>
  <cp:category>You Exec (https://youexec.com?sr=kpipd)</cp:category>
  <cp:lastModifiedBy>MINH THU</cp:lastModifiedBy>
  <cp:revision>236</cp:revision>
  <dcterms:created xsi:type="dcterms:W3CDTF">2013-09-12T13:05:00Z</dcterms:created>
  <dcterms:modified xsi:type="dcterms:W3CDTF">2022-11-27T07:2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02D8E32F4144CBAA78EB2024EB262DD</vt:lpwstr>
  </property>
  <property fmtid="{D5CDD505-2E9C-101B-9397-08002B2CF9AE}" pid="3" name="KSOProductBuildVer">
    <vt:lpwstr>1033-11.2.0.11417</vt:lpwstr>
  </property>
</Properties>
</file>